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heme/theme2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3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4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5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147374984" r:id="rId2"/>
    <p:sldId id="256" r:id="rId3"/>
    <p:sldId id="262" r:id="rId4"/>
    <p:sldId id="259" r:id="rId5"/>
    <p:sldId id="282" r:id="rId6"/>
    <p:sldId id="285" r:id="rId7"/>
    <p:sldId id="260" r:id="rId8"/>
    <p:sldId id="261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1" r:id="rId17"/>
    <p:sldId id="272" r:id="rId18"/>
    <p:sldId id="270" r:id="rId19"/>
    <p:sldId id="273" r:id="rId20"/>
    <p:sldId id="283" r:id="rId21"/>
    <p:sldId id="286" r:id="rId22"/>
    <p:sldId id="284" r:id="rId23"/>
    <p:sldId id="275" r:id="rId24"/>
    <p:sldId id="281" r:id="rId25"/>
    <p:sldId id="274" r:id="rId26"/>
    <p:sldId id="276" r:id="rId27"/>
    <p:sldId id="277" r:id="rId28"/>
    <p:sldId id="280" r:id="rId29"/>
    <p:sldId id="278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D9266A1-D1DD-4BCC-979F-0F09939AA896}">
          <p14:sldIdLst>
            <p14:sldId id="2147374984"/>
            <p14:sldId id="256"/>
            <p14:sldId id="262"/>
            <p14:sldId id="259"/>
            <p14:sldId id="282"/>
            <p14:sldId id="285"/>
            <p14:sldId id="260"/>
            <p14:sldId id="261"/>
            <p14:sldId id="263"/>
          </p14:sldIdLst>
        </p14:section>
        <p14:section name="Quantitative Slides" id="{430F2D34-A503-41DB-935B-D7D37674B9E1}">
          <p14:sldIdLst>
            <p14:sldId id="264"/>
            <p14:sldId id="265"/>
            <p14:sldId id="266"/>
            <p14:sldId id="267"/>
          </p14:sldIdLst>
        </p14:section>
        <p14:section name="Qualitative Slides" id="{F653DC13-1E96-4D4D-84E3-80C8DF404C32}">
          <p14:sldIdLst>
            <p14:sldId id="268"/>
            <p14:sldId id="269"/>
            <p14:sldId id="271"/>
            <p14:sldId id="272"/>
            <p14:sldId id="270"/>
            <p14:sldId id="273"/>
            <p14:sldId id="283"/>
            <p14:sldId id="286"/>
            <p14:sldId id="284"/>
          </p14:sldIdLst>
        </p14:section>
        <p14:section name="Graphic slides" id="{379F53F9-25AC-47D3-ADE2-A7A39A8F3540}">
          <p14:sldIdLst>
            <p14:sldId id="275"/>
            <p14:sldId id="281"/>
            <p14:sldId id="274"/>
            <p14:sldId id="276"/>
            <p14:sldId id="277"/>
            <p14:sldId id="280"/>
            <p14:sldId id="27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650" autoAdjust="0"/>
    <p:restoredTop sz="94673" autoAdjust="0"/>
  </p:normalViewPr>
  <p:slideViewPr>
    <p:cSldViewPr snapToGrid="0">
      <p:cViewPr>
        <p:scale>
          <a:sx n="100" d="100"/>
          <a:sy n="100" d="100"/>
        </p:scale>
        <p:origin x="150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871076807177964E-2"/>
          <c:y val="0.11168769732724461"/>
          <c:w val="0.96052508475111475"/>
          <c:h val="0.815380355031391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0B-4970-8914-088B67661D9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0B-4970-8914-088B67661D9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0B-4970-8914-088B67661D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43437680"/>
        <c:axId val="1443438640"/>
      </c:barChart>
      <c:catAx>
        <c:axId val="1443437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8640"/>
        <c:crosses val="autoZero"/>
        <c:auto val="1"/>
        <c:lblAlgn val="ctr"/>
        <c:lblOffset val="100"/>
        <c:noMultiLvlLbl val="0"/>
      </c:catAx>
      <c:valAx>
        <c:axId val="1443438640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7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6847434460265651"/>
          <c:y val="1.3220266182657398E-2"/>
          <c:w val="0.23152565539734346"/>
          <c:h val="6.12286986438629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871076807177964E-2"/>
          <c:y val="0.11168769732724461"/>
          <c:w val="0.96052508475111475"/>
          <c:h val="0.815380355031391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42-4E6C-943F-4046B2DC7C9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42-4E6C-943F-4046B2DC7C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43437680"/>
        <c:axId val="144343864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442-4E6C-943F-4046B2DC7C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43455920"/>
        <c:axId val="1443455440"/>
      </c:lineChart>
      <c:catAx>
        <c:axId val="1443437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8640"/>
        <c:crosses val="autoZero"/>
        <c:auto val="1"/>
        <c:lblAlgn val="ctr"/>
        <c:lblOffset val="100"/>
        <c:noMultiLvlLbl val="0"/>
      </c:catAx>
      <c:valAx>
        <c:axId val="1443438640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7680"/>
        <c:crosses val="autoZero"/>
        <c:crossBetween val="between"/>
        <c:majorUnit val="1"/>
      </c:valAx>
      <c:valAx>
        <c:axId val="144345544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55920"/>
        <c:crosses val="max"/>
        <c:crossBetween val="between"/>
      </c:valAx>
      <c:catAx>
        <c:axId val="14434559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4345544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7836721380279377"/>
          <c:y val="1.3220266182657398E-2"/>
          <c:w val="0.42163278619720623"/>
          <c:h val="6.12286986438629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871076807177964E-2"/>
          <c:y val="0.11168769732724461"/>
          <c:w val="0.96052508475111475"/>
          <c:h val="0.8153803550313918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42-4E6C-943F-4046B2DC7C9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42-4E6C-943F-4046B2DC7C9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442-4E6C-943F-4046B2DC7C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43437680"/>
        <c:axId val="1443438640"/>
      </c:barChart>
      <c:catAx>
        <c:axId val="14434376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8640"/>
        <c:crosses val="autoZero"/>
        <c:auto val="1"/>
        <c:lblAlgn val="ctr"/>
        <c:lblOffset val="100"/>
        <c:noMultiLvlLbl val="0"/>
      </c:catAx>
      <c:valAx>
        <c:axId val="1443438640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7680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3087300754555165"/>
          <c:y val="1.3220266182657398E-2"/>
          <c:w val="0.36912707140600176"/>
          <c:h val="5.492731224948798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80882358269311"/>
          <c:y val="8.1738941571577559E-2"/>
          <c:w val="0.85855162856880796"/>
          <c:h val="0.8553052454726094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5D-42CE-A79E-63004270B5E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F5D-42CE-A79E-63004270B5E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F5D-42CE-A79E-63004270B5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83256864"/>
        <c:axId val="583253984"/>
      </c:barChart>
      <c:catAx>
        <c:axId val="583256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3253984"/>
        <c:crosses val="autoZero"/>
        <c:auto val="1"/>
        <c:lblAlgn val="ctr"/>
        <c:lblOffset val="100"/>
        <c:noMultiLvlLbl val="0"/>
      </c:catAx>
      <c:valAx>
        <c:axId val="583253984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325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1044024284131273"/>
          <c:y val="1.3388313597518619E-2"/>
          <c:w val="0.48769270051599106"/>
          <c:h val="5.48146771996144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871076807177964E-2"/>
          <c:y val="0.11168769732724461"/>
          <c:w val="0.96052508475111475"/>
          <c:h val="0.81538035503139183"/>
        </c:manualLayout>
      </c:layout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68-4711-83CF-885FD7DBB1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68-4711-83CF-885FD7DBB1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768-4711-83CF-885FD7DBB1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43437680"/>
        <c:axId val="1443438640"/>
      </c:areaChart>
      <c:catAx>
        <c:axId val="1443437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8640"/>
        <c:crosses val="autoZero"/>
        <c:auto val="1"/>
        <c:lblAlgn val="ctr"/>
        <c:lblOffset val="100"/>
        <c:noMultiLvlLbl val="0"/>
      </c:catAx>
      <c:valAx>
        <c:axId val="1443438640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7680"/>
        <c:crosses val="autoZero"/>
        <c:crossBetween val="midCat"/>
        <c:majorUnit val="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3087300754555165"/>
          <c:y val="1.3220266182657398E-2"/>
          <c:w val="0.36912707140600176"/>
          <c:h val="5.492731224948798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8/2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image" Target="../media/image1.emf"/><Relationship Id="rId5" Type="http://schemas.openxmlformats.org/officeDocument/2006/relationships/tags" Target="../tags/tag56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55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6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4" Type="http://schemas.openxmlformats.org/officeDocument/2006/relationships/tags" Target="../tags/tag63.xml"/><Relationship Id="rId9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10" Type="http://schemas.openxmlformats.org/officeDocument/2006/relationships/image" Target="../media/image1.emf"/><Relationship Id="rId4" Type="http://schemas.openxmlformats.org/officeDocument/2006/relationships/tags" Target="../tags/tag78.xml"/><Relationship Id="rId9" Type="http://schemas.openxmlformats.org/officeDocument/2006/relationships/oleObject" Target="../embeddings/oleObject2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2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0C3392"/>
              </a:gs>
              <a:gs pos="15000">
                <a:srgbClr val="041E3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7A9DF156-802A-E992-FBED-5F5851F0DEBA}"/>
              </a:ext>
            </a:extLst>
          </p:cNvPr>
          <p:cNvSpPr/>
          <p:nvPr userDrawn="1"/>
        </p:nvSpPr>
        <p:spPr>
          <a:xfrm>
            <a:off x="554736" y="1308099"/>
            <a:ext cx="2748138" cy="535967"/>
          </a:xfrm>
          <a:prstGeom prst="homePlate">
            <a:avLst>
              <a:gd name="adj" fmla="val 2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372F8DC2-B14E-3B1B-A12D-8DC222E201ED}"/>
              </a:ext>
            </a:extLst>
          </p:cNvPr>
          <p:cNvSpPr/>
          <p:nvPr userDrawn="1"/>
        </p:nvSpPr>
        <p:spPr>
          <a:xfrm>
            <a:off x="3332866" y="1308099"/>
            <a:ext cx="2748138" cy="535967"/>
          </a:xfrm>
          <a:prstGeom prst="chevron">
            <a:avLst>
              <a:gd name="adj" fmla="val 2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E480885F-D131-8A25-9BB9-E7CC9D21F623}"/>
              </a:ext>
            </a:extLst>
          </p:cNvPr>
          <p:cNvSpPr/>
          <p:nvPr userDrawn="1"/>
        </p:nvSpPr>
        <p:spPr>
          <a:xfrm>
            <a:off x="6110996" y="1308099"/>
            <a:ext cx="2748138" cy="535967"/>
          </a:xfrm>
          <a:prstGeom prst="chevron">
            <a:avLst>
              <a:gd name="adj" fmla="val 2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4603506D-E584-6281-747F-B52ED4B98CE7}"/>
              </a:ext>
            </a:extLst>
          </p:cNvPr>
          <p:cNvSpPr/>
          <p:nvPr userDrawn="1"/>
        </p:nvSpPr>
        <p:spPr>
          <a:xfrm>
            <a:off x="8889126" y="1308099"/>
            <a:ext cx="2748138" cy="535967"/>
          </a:xfrm>
          <a:prstGeom prst="chevron">
            <a:avLst>
              <a:gd name="adj" fmla="val 2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5801" y="1393817"/>
            <a:ext cx="241246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37474" y="1393817"/>
            <a:ext cx="233892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5604" y="1393817"/>
            <a:ext cx="233892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93734" y="1393817"/>
            <a:ext cx="233892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748675" y="2394855"/>
            <a:ext cx="2594858" cy="36550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3448605" y="2394855"/>
            <a:ext cx="2594858" cy="36550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836E0A3-45F3-7D97-752A-84BDF79B1353}"/>
              </a:ext>
            </a:extLst>
          </p:cNvPr>
          <p:cNvSpPr/>
          <p:nvPr userDrawn="1"/>
        </p:nvSpPr>
        <p:spPr>
          <a:xfrm>
            <a:off x="6148535" y="2394855"/>
            <a:ext cx="2594858" cy="36550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848465" y="2394855"/>
            <a:ext cx="2594858" cy="36550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F5E9937D-F526-8A81-E5FE-CEF51BA3558E}"/>
              </a:ext>
            </a:extLst>
          </p:cNvPr>
          <p:cNvSpPr/>
          <p:nvPr userDrawn="1"/>
        </p:nvSpPr>
        <p:spPr>
          <a:xfrm>
            <a:off x="533400" y="1267114"/>
            <a:ext cx="11125199" cy="1127741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3507B141-E575-47F0-9EDC-C94AE0D4E1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38117" y="1713260"/>
            <a:ext cx="2315764" cy="276999"/>
          </a:xfrm>
        </p:spPr>
        <p:txBody>
          <a:bodyPr anchor="t">
            <a:sp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836E0A3-45F3-7D97-752A-84BDF79B1353}"/>
              </a:ext>
            </a:extLst>
          </p:cNvPr>
          <p:cNvSpPr/>
          <p:nvPr userDrawn="1"/>
        </p:nvSpPr>
        <p:spPr>
          <a:xfrm>
            <a:off x="6150441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2391593-CC22-68BE-3F82-73E11FAFC18F}"/>
              </a:ext>
            </a:extLst>
          </p:cNvPr>
          <p:cNvSpPr/>
          <p:nvPr userDrawn="1"/>
        </p:nvSpPr>
        <p:spPr>
          <a:xfrm>
            <a:off x="1442021" y="1455551"/>
            <a:ext cx="914400" cy="9144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ADD44E8-E0F7-552C-290C-4798B6C7ECEC}"/>
              </a:ext>
            </a:extLst>
          </p:cNvPr>
          <p:cNvSpPr/>
          <p:nvPr userDrawn="1"/>
        </p:nvSpPr>
        <p:spPr>
          <a:xfrm>
            <a:off x="4239874" y="1455551"/>
            <a:ext cx="914400" cy="9144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8CBB85A-3AE9-7097-C4BD-603A5C66900C}"/>
              </a:ext>
            </a:extLst>
          </p:cNvPr>
          <p:cNvSpPr/>
          <p:nvPr userDrawn="1"/>
        </p:nvSpPr>
        <p:spPr>
          <a:xfrm>
            <a:off x="7037726" y="1455551"/>
            <a:ext cx="914400" cy="9144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76542C7-01CA-7F21-5AD5-206DAEFD047B}"/>
              </a:ext>
            </a:extLst>
          </p:cNvPr>
          <p:cNvSpPr/>
          <p:nvPr userDrawn="1"/>
        </p:nvSpPr>
        <p:spPr>
          <a:xfrm>
            <a:off x="9835579" y="1455551"/>
            <a:ext cx="914400" cy="9144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0D9411C6-FF8E-DE0D-3286-CC84A8D3258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1601342" y="1614872"/>
            <a:ext cx="595758" cy="5957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1" name="Picture Placeholder 29">
            <a:extLst>
              <a:ext uri="{FF2B5EF4-FFF2-40B4-BE49-F238E27FC236}">
                <a16:creationId xmlns:a16="http://schemas.microsoft.com/office/drawing/2014/main" id="{67ECBDF8-FCEA-CBE7-B9E2-A41228AB391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99195" y="1614872"/>
            <a:ext cx="595758" cy="5957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2" name="Picture Placeholder 29">
            <a:extLst>
              <a:ext uri="{FF2B5EF4-FFF2-40B4-BE49-F238E27FC236}">
                <a16:creationId xmlns:a16="http://schemas.microsoft.com/office/drawing/2014/main" id="{4F1D1E4D-E763-9908-DCA8-6139AA1B5F0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197047" y="1614872"/>
            <a:ext cx="595758" cy="5957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3" name="Picture Placeholder 29">
            <a:extLst>
              <a:ext uri="{FF2B5EF4-FFF2-40B4-BE49-F238E27FC236}">
                <a16:creationId xmlns:a16="http://schemas.microsoft.com/office/drawing/2014/main" id="{DA5C0215-8D8A-92C2-F8E3-7F9D12792EC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94900" y="1614872"/>
            <a:ext cx="595758" cy="5957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85402DE1-2EE2-7E73-B579-1C853B573856}"/>
              </a:ext>
            </a:extLst>
          </p:cNvPr>
          <p:cNvSpPr/>
          <p:nvPr userDrawn="1"/>
        </p:nvSpPr>
        <p:spPr>
          <a:xfrm rot="5400000" flipV="1">
            <a:off x="1136468" y="1534863"/>
            <a:ext cx="935002" cy="21260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445875F-8CD9-2C1A-D33E-A7C58633BDFB}"/>
              </a:ext>
            </a:extLst>
          </p:cNvPr>
          <p:cNvSpPr/>
          <p:nvPr userDrawn="1"/>
        </p:nvSpPr>
        <p:spPr>
          <a:xfrm rot="5400000" flipV="1">
            <a:off x="1136468" y="2569526"/>
            <a:ext cx="934996" cy="21260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BD7AE8B-9FB5-51EA-4C08-2510CA86B4BC}"/>
              </a:ext>
            </a:extLst>
          </p:cNvPr>
          <p:cNvSpPr/>
          <p:nvPr userDrawn="1"/>
        </p:nvSpPr>
        <p:spPr>
          <a:xfrm rot="5400000" flipV="1">
            <a:off x="1136468" y="3604186"/>
            <a:ext cx="934996" cy="21260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3B4967-CE7F-821F-10D9-FD1CDA834BB6}"/>
              </a:ext>
            </a:extLst>
          </p:cNvPr>
          <p:cNvSpPr/>
          <p:nvPr userDrawn="1"/>
        </p:nvSpPr>
        <p:spPr>
          <a:xfrm rot="5400000" flipV="1">
            <a:off x="1136467" y="4638844"/>
            <a:ext cx="934996" cy="21260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67FE7577-9A10-07FE-4DF3-9B7AE9DDA5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8888" y="2474786"/>
            <a:ext cx="1880229" cy="246221"/>
          </a:xfrm>
        </p:spPr>
        <p:txBody>
          <a:bodyPr wrap="square" anchor="ctr">
            <a:sp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59" name="Text Placeholder 8">
            <a:extLst>
              <a:ext uri="{FF2B5EF4-FFF2-40B4-BE49-F238E27FC236}">
                <a16:creationId xmlns:a16="http://schemas.microsoft.com/office/drawing/2014/main" id="{D9195CDD-2AE4-8245-A375-BF53ADA730B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888" y="3509450"/>
            <a:ext cx="1880229" cy="246221"/>
          </a:xfrm>
        </p:spPr>
        <p:txBody>
          <a:bodyPr wrap="square" anchor="ctr">
            <a:sp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AEBED51B-5B35-473C-D1E6-5B82EE71152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8888" y="4544110"/>
            <a:ext cx="1880229" cy="246221"/>
          </a:xfrm>
        </p:spPr>
        <p:txBody>
          <a:bodyPr wrap="square" anchor="ctr">
            <a:sp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35CDA025-C9D0-DC07-3C91-E800A163E9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8888" y="5578768"/>
            <a:ext cx="1880229" cy="246221"/>
          </a:xfrm>
        </p:spPr>
        <p:txBody>
          <a:bodyPr wrap="square" anchor="ctr">
            <a:sp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ing 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ing </a:t>
            </a: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Arrow: Pentagon 41">
            <a:extLst>
              <a:ext uri="{FF2B5EF4-FFF2-40B4-BE49-F238E27FC236}">
                <a16:creationId xmlns:a16="http://schemas.microsoft.com/office/drawing/2014/main" id="{B646908D-DC89-7581-D7C7-40FBB2CA8321}"/>
              </a:ext>
            </a:extLst>
          </p:cNvPr>
          <p:cNvSpPr/>
          <p:nvPr userDrawn="1"/>
        </p:nvSpPr>
        <p:spPr>
          <a:xfrm rot="5400000" flipV="1">
            <a:off x="742105" y="1120730"/>
            <a:ext cx="1356524" cy="1731264"/>
          </a:xfrm>
          <a:prstGeom prst="homePlate">
            <a:avLst>
              <a:gd name="adj" fmla="val 2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Arrow: Chevron 42">
            <a:extLst>
              <a:ext uri="{FF2B5EF4-FFF2-40B4-BE49-F238E27FC236}">
                <a16:creationId xmlns:a16="http://schemas.microsoft.com/office/drawing/2014/main" id="{9DD7BE3A-D043-9123-26FC-5A5E6A43951B}"/>
              </a:ext>
            </a:extLst>
          </p:cNvPr>
          <p:cNvSpPr/>
          <p:nvPr userDrawn="1"/>
        </p:nvSpPr>
        <p:spPr>
          <a:xfrm rot="5400000" flipV="1">
            <a:off x="742105" y="2291510"/>
            <a:ext cx="1356524" cy="1731264"/>
          </a:xfrm>
          <a:prstGeom prst="chevron">
            <a:avLst>
              <a:gd name="adj" fmla="val 2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9B04BDF4-807F-329B-A67E-0C31959D6602}"/>
              </a:ext>
            </a:extLst>
          </p:cNvPr>
          <p:cNvSpPr/>
          <p:nvPr userDrawn="1"/>
        </p:nvSpPr>
        <p:spPr>
          <a:xfrm rot="5400000" flipV="1">
            <a:off x="742105" y="3462290"/>
            <a:ext cx="1356524" cy="1731264"/>
          </a:xfrm>
          <a:prstGeom prst="chevron">
            <a:avLst>
              <a:gd name="adj" fmla="val 2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8" name="Arrow: Chevron 47">
            <a:extLst>
              <a:ext uri="{FF2B5EF4-FFF2-40B4-BE49-F238E27FC236}">
                <a16:creationId xmlns:a16="http://schemas.microsoft.com/office/drawing/2014/main" id="{F8C2822A-A966-BE4E-821B-0AC158FFEAB3}"/>
              </a:ext>
            </a:extLst>
          </p:cNvPr>
          <p:cNvSpPr/>
          <p:nvPr userDrawn="1"/>
        </p:nvSpPr>
        <p:spPr>
          <a:xfrm rot="5400000" flipV="1">
            <a:off x="742105" y="4633069"/>
            <a:ext cx="1356524" cy="1731264"/>
          </a:xfrm>
          <a:prstGeom prst="chevron">
            <a:avLst>
              <a:gd name="adj" fmla="val 2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5BBAD509-2241-27A1-1ACE-7A75B7F10A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5948" y="1505858"/>
            <a:ext cx="1388843" cy="71653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48390943-6AA3-7DBC-10F1-74A34F0EE7D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5948" y="2803638"/>
            <a:ext cx="1388843" cy="71653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95B3A60B-FD43-D9A9-E637-D8FC70F74B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5948" y="3974418"/>
            <a:ext cx="1388843" cy="71653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59" name="Text Placeholder 8">
            <a:extLst>
              <a:ext uri="{FF2B5EF4-FFF2-40B4-BE49-F238E27FC236}">
                <a16:creationId xmlns:a16="http://schemas.microsoft.com/office/drawing/2014/main" id="{AD832CB1-ECBB-2738-B964-60C480586D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5948" y="5145197"/>
            <a:ext cx="1388843" cy="71653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</a:t>
            </a:r>
            <a:br>
              <a:rPr lang="en-US" dirty="0"/>
            </a:br>
            <a:r>
              <a:rPr lang="en-US" dirty="0"/>
              <a:t>Five Proces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C392D52B-8C21-43EF-BC19-B68C99700460}"/>
              </a:ext>
            </a:extLst>
          </p:cNvPr>
          <p:cNvGrpSpPr/>
          <p:nvPr userDrawn="1"/>
        </p:nvGrpSpPr>
        <p:grpSpPr>
          <a:xfrm>
            <a:off x="-3878563" y="1720090"/>
            <a:ext cx="2109893" cy="4456872"/>
            <a:chOff x="-2887314" y="1720091"/>
            <a:chExt cx="2109893" cy="4456872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940C509-4B8E-369A-683E-D3B08037AEB6}"/>
                </a:ext>
              </a:extLst>
            </p:cNvPr>
            <p:cNvSpPr/>
            <p:nvPr userDrawn="1"/>
          </p:nvSpPr>
          <p:spPr>
            <a:xfrm>
              <a:off x="-1348921" y="1720091"/>
              <a:ext cx="571500" cy="445687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41D387B5-E59B-BE9C-00EB-78D4907848F8}"/>
                </a:ext>
              </a:extLst>
            </p:cNvPr>
            <p:cNvSpPr/>
            <p:nvPr userDrawn="1"/>
          </p:nvSpPr>
          <p:spPr>
            <a:xfrm>
              <a:off x="-2887314" y="1720091"/>
              <a:ext cx="1263474" cy="770324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BF3553AA-F930-B161-D623-0FADEFCD31D4}"/>
                </a:ext>
              </a:extLst>
            </p:cNvPr>
            <p:cNvSpPr/>
            <p:nvPr userDrawn="1"/>
          </p:nvSpPr>
          <p:spPr>
            <a:xfrm>
              <a:off x="-2887314" y="2641728"/>
              <a:ext cx="1263474" cy="770324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FF1EAB81-8270-C9B1-4382-97DB5170BD0B}"/>
                </a:ext>
              </a:extLst>
            </p:cNvPr>
            <p:cNvSpPr/>
            <p:nvPr userDrawn="1"/>
          </p:nvSpPr>
          <p:spPr>
            <a:xfrm>
              <a:off x="-2887314" y="3563365"/>
              <a:ext cx="1263474" cy="770324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C69B445E-03ED-7362-9EA2-6E620A08266D}"/>
                </a:ext>
              </a:extLst>
            </p:cNvPr>
            <p:cNvSpPr/>
            <p:nvPr userDrawn="1"/>
          </p:nvSpPr>
          <p:spPr>
            <a:xfrm>
              <a:off x="-2887314" y="4485002"/>
              <a:ext cx="1263474" cy="770324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CCA4B49E-989C-2BDF-8865-73BA74A940A1}"/>
                </a:ext>
              </a:extLst>
            </p:cNvPr>
            <p:cNvSpPr/>
            <p:nvPr userDrawn="1"/>
          </p:nvSpPr>
          <p:spPr>
            <a:xfrm>
              <a:off x="-2887314" y="5406639"/>
              <a:ext cx="1263474" cy="770324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4452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>
          <p15:clr>
            <a:srgbClr val="FBAE40"/>
          </p15:clr>
        </p15:guide>
        <p15:guide id="2" pos="262">
          <p15:clr>
            <a:srgbClr val="FBAE40"/>
          </p15:clr>
        </p15:guide>
        <p15:guide id="3" pos="741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0C3392"/>
              </a:gs>
              <a:gs pos="15000">
                <a:srgbClr val="041E3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0C3392"/>
              </a:gs>
              <a:gs pos="15000">
                <a:srgbClr val="041E3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47" imgH="348" progId="TCLayout.ActiveDocument.1">
                  <p:embed/>
                </p:oleObj>
              </mc:Choice>
              <mc:Fallback>
                <p:oleObj name="think-cell Slide" r:id="rId32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70" r:id="rId16"/>
    <p:sldLayoutId id="2147483683" r:id="rId17"/>
    <p:sldLayoutId id="2147483685" r:id="rId18"/>
    <p:sldLayoutId id="2147483682" r:id="rId19"/>
    <p:sldLayoutId id="2147483671" r:id="rId20"/>
    <p:sldLayoutId id="2147483672" r:id="rId21"/>
    <p:sldLayoutId id="2147483678" r:id="rId22"/>
    <p:sldLayoutId id="2147483673" r:id="rId23"/>
    <p:sldLayoutId id="2147483674" r:id="rId24"/>
    <p:sldLayoutId id="2147483675" r:id="rId25"/>
    <p:sldLayoutId id="2147483677" r:id="rId26"/>
    <p:sldLayoutId id="2147483676" r:id="rId27"/>
    <p:sldLayoutId id="2147483659" r:id="rId28"/>
    <p:sldLayoutId id="2147483686" r:id="rId2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93.xml"/><Relationship Id="rId5" Type="http://schemas.openxmlformats.org/officeDocument/2006/relationships/hyperlink" Target="https://forms.gle/qomCt2c4icWRuSAC6" TargetMode="External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03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4.xml"/><Relationship Id="rId5" Type="http://schemas.openxmlformats.org/officeDocument/2006/relationships/chart" Target="../charts/chart3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05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6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7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8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09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10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image" Target="../media/image1.emf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oleObject" Target="../embeddings/oleObject45.bin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1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4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15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oleObject" Target="../embeddings/oleObject47.bin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16.xml"/><Relationship Id="rId6" Type="http://schemas.openxmlformats.org/officeDocument/2006/relationships/image" Target="../media/image6.sv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image" Target="../media/image1.emf"/><Relationship Id="rId9" Type="http://schemas.openxmlformats.org/officeDocument/2006/relationships/image" Target="../media/image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17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1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19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20.xml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2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22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23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2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8E3221-1199-4559-887A-81BFEE9ED6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8266C76-0FB3-315C-8137-B1F693131F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266C76-0FB3-315C-8137-B1F693131F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B4FA1B2-6F0A-E84A-6BFB-57AA19577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w to use this template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A91C4ECE-67FC-1F3A-3638-F5DA91BF1D7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15FC7A-EC7C-D05A-A5CB-D96FD519F1BB}"/>
              </a:ext>
            </a:extLst>
          </p:cNvPr>
          <p:cNvSpPr txBox="1"/>
          <p:nvPr/>
        </p:nvSpPr>
        <p:spPr>
          <a:xfrm>
            <a:off x="609600" y="1633165"/>
            <a:ext cx="7203311" cy="8309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dirty="0"/>
              <a:t>This template is designed for flexibility — customize it to suit your business needs while maintaining the clean, structured design for clarity and consistency.</a:t>
            </a:r>
          </a:p>
        </p:txBody>
      </p:sp>
      <p:sp>
        <p:nvSpPr>
          <p:cNvPr id="38" name="Rectangle: Rounded Corners 19">
            <a:extLst>
              <a:ext uri="{FF2B5EF4-FFF2-40B4-BE49-F238E27FC236}">
                <a16:creationId xmlns:a16="http://schemas.microsoft.com/office/drawing/2014/main" id="{81197C60-B976-BB19-2BF9-90803BD8C38D}"/>
              </a:ext>
            </a:extLst>
          </p:cNvPr>
          <p:cNvSpPr/>
          <p:nvPr/>
        </p:nvSpPr>
        <p:spPr>
          <a:xfrm>
            <a:off x="609600" y="2804612"/>
            <a:ext cx="2074310" cy="2909396"/>
          </a:xfrm>
          <a:prstGeom prst="roundRect">
            <a:avLst>
              <a:gd name="adj" fmla="val 9421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bIns="182880" rtlCol="0" anchor="t"/>
          <a:lstStyle/>
          <a:p>
            <a:r>
              <a:rPr lang="en-US" sz="1200" dirty="0">
                <a:solidFill>
                  <a:schemeClr val="bg1"/>
                </a:solidFill>
              </a:rPr>
              <a:t>Click on any text box to enter your own titles, subtitles, and content. Follow the existing formatting for a consistent, professional look.</a:t>
            </a:r>
          </a:p>
        </p:txBody>
      </p:sp>
      <p:sp>
        <p:nvSpPr>
          <p:cNvPr id="39" name="Rectangle: Rounded Corners 20">
            <a:extLst>
              <a:ext uri="{FF2B5EF4-FFF2-40B4-BE49-F238E27FC236}">
                <a16:creationId xmlns:a16="http://schemas.microsoft.com/office/drawing/2014/main" id="{AFDE038D-D3B7-B5B8-6AC4-E78DD856EC87}"/>
              </a:ext>
            </a:extLst>
          </p:cNvPr>
          <p:cNvSpPr/>
          <p:nvPr/>
        </p:nvSpPr>
        <p:spPr>
          <a:xfrm>
            <a:off x="2834222" y="2804612"/>
            <a:ext cx="2074310" cy="2909396"/>
          </a:xfrm>
          <a:prstGeom prst="roundRect">
            <a:avLst>
              <a:gd name="adj" fmla="val 9421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bIns="182880" rtlCol="0" anchor="t"/>
          <a:lstStyle/>
          <a:p>
            <a:r>
              <a:rPr lang="en-US" sz="1200" dirty="0">
                <a:solidFill>
                  <a:schemeClr val="bg1"/>
                </a:solidFill>
              </a:rPr>
              <a:t>Right-click on any chart, select </a:t>
            </a:r>
            <a:r>
              <a:rPr lang="en-US" sz="1200" i="1" dirty="0">
                <a:solidFill>
                  <a:schemeClr val="bg1"/>
                </a:solidFill>
              </a:rPr>
              <a:t>Edit Data</a:t>
            </a:r>
            <a:r>
              <a:rPr lang="en-US" sz="1200" dirty="0">
                <a:solidFill>
                  <a:schemeClr val="bg1"/>
                </a:solidFill>
              </a:rPr>
              <a:t>, and input your actual figures in the linked Excel sheet. The charts will update automatically.</a:t>
            </a:r>
          </a:p>
        </p:txBody>
      </p:sp>
      <p:sp>
        <p:nvSpPr>
          <p:cNvPr id="40" name="Rectangle: Rounded Corners 21">
            <a:extLst>
              <a:ext uri="{FF2B5EF4-FFF2-40B4-BE49-F238E27FC236}">
                <a16:creationId xmlns:a16="http://schemas.microsoft.com/office/drawing/2014/main" id="{326F8A05-6F82-2135-37F0-55D658DA8B44}"/>
              </a:ext>
            </a:extLst>
          </p:cNvPr>
          <p:cNvSpPr/>
          <p:nvPr/>
        </p:nvSpPr>
        <p:spPr>
          <a:xfrm>
            <a:off x="5058845" y="2804612"/>
            <a:ext cx="2074310" cy="2909396"/>
          </a:xfrm>
          <a:prstGeom prst="roundRect">
            <a:avLst>
              <a:gd name="adj" fmla="val 9421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bIns="182880" rtlCol="0" anchor="t"/>
          <a:lstStyle/>
          <a:p>
            <a:r>
              <a:rPr lang="en-US" sz="1200" dirty="0">
                <a:solidFill>
                  <a:schemeClr val="bg1"/>
                </a:solidFill>
              </a:rPr>
              <a:t>Click on any image placeholder, choose </a:t>
            </a:r>
            <a:r>
              <a:rPr lang="en-US" sz="1200" i="1" dirty="0">
                <a:solidFill>
                  <a:schemeClr val="bg1"/>
                </a:solidFill>
              </a:rPr>
              <a:t>Change Picture</a:t>
            </a:r>
            <a:r>
              <a:rPr lang="en-US" sz="1200" dirty="0">
                <a:solidFill>
                  <a:schemeClr val="bg1"/>
                </a:solidFill>
              </a:rPr>
              <a:t>, and insert your own visuals. Use high-resolution, relevant images for maximum impact.</a:t>
            </a:r>
          </a:p>
        </p:txBody>
      </p:sp>
      <p:sp>
        <p:nvSpPr>
          <p:cNvPr id="41" name="Rectangle: Rounded Corners 22">
            <a:extLst>
              <a:ext uri="{FF2B5EF4-FFF2-40B4-BE49-F238E27FC236}">
                <a16:creationId xmlns:a16="http://schemas.microsoft.com/office/drawing/2014/main" id="{EDEA2AEC-938D-4D37-DAD2-8AFCB4845683}"/>
              </a:ext>
            </a:extLst>
          </p:cNvPr>
          <p:cNvSpPr/>
          <p:nvPr/>
        </p:nvSpPr>
        <p:spPr>
          <a:xfrm>
            <a:off x="7283467" y="2804612"/>
            <a:ext cx="2074310" cy="2909396"/>
          </a:xfrm>
          <a:prstGeom prst="roundRect">
            <a:avLst>
              <a:gd name="adj" fmla="val 9421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bIns="182880" rtlCol="0" anchor="t"/>
          <a:lstStyle/>
          <a:p>
            <a:r>
              <a:rPr lang="en-US" sz="1200" dirty="0">
                <a:solidFill>
                  <a:schemeClr val="bg1"/>
                </a:solidFill>
              </a:rPr>
              <a:t>If needed, adjust accent colors or fonts via the </a:t>
            </a:r>
            <a:r>
              <a:rPr lang="en-US" sz="1200" i="1" dirty="0">
                <a:solidFill>
                  <a:schemeClr val="bg1"/>
                </a:solidFill>
              </a:rPr>
              <a:t>Design</a:t>
            </a:r>
            <a:r>
              <a:rPr lang="en-US" sz="1200" dirty="0">
                <a:solidFill>
                  <a:schemeClr val="bg1"/>
                </a:solidFill>
              </a:rPr>
              <a:t> or </a:t>
            </a:r>
            <a:r>
              <a:rPr lang="en-US" sz="1200" i="1" dirty="0">
                <a:solidFill>
                  <a:schemeClr val="bg1"/>
                </a:solidFill>
              </a:rPr>
              <a:t>View &gt; Slide Master</a:t>
            </a:r>
            <a:r>
              <a:rPr lang="en-US" sz="1200" dirty="0">
                <a:solidFill>
                  <a:schemeClr val="bg1"/>
                </a:solidFill>
              </a:rPr>
              <a:t> tab to match your brand guidelines.</a:t>
            </a:r>
          </a:p>
        </p:txBody>
      </p:sp>
      <p:sp>
        <p:nvSpPr>
          <p:cNvPr id="42" name="Rectangle: Rounded Corners 23">
            <a:extLst>
              <a:ext uri="{FF2B5EF4-FFF2-40B4-BE49-F238E27FC236}">
                <a16:creationId xmlns:a16="http://schemas.microsoft.com/office/drawing/2014/main" id="{9E9AF51B-E02E-6C5D-0756-378CDB7E15EB}"/>
              </a:ext>
            </a:extLst>
          </p:cNvPr>
          <p:cNvSpPr/>
          <p:nvPr/>
        </p:nvSpPr>
        <p:spPr>
          <a:xfrm>
            <a:off x="9508090" y="2804612"/>
            <a:ext cx="2074310" cy="2909396"/>
          </a:xfrm>
          <a:prstGeom prst="roundRect">
            <a:avLst>
              <a:gd name="adj" fmla="val 9421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bIns="182880" rtlCol="0" anchor="t"/>
          <a:lstStyle/>
          <a:p>
            <a:r>
              <a:rPr lang="en-US" sz="1200" dirty="0">
                <a:solidFill>
                  <a:schemeClr val="bg1"/>
                </a:solidFill>
              </a:rPr>
              <a:t>Add new sections or remove slides that aren’t relevant by right-clicking in the slide sorter view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1FCDE4E-24AA-AFA9-736A-3D6CC9513FFA}"/>
              </a:ext>
            </a:extLst>
          </p:cNvPr>
          <p:cNvSpPr txBox="1"/>
          <p:nvPr/>
        </p:nvSpPr>
        <p:spPr>
          <a:xfrm>
            <a:off x="609599" y="3342179"/>
            <a:ext cx="2074309" cy="584775"/>
          </a:xfrm>
          <a:prstGeom prst="rect">
            <a:avLst/>
          </a:prstGeom>
          <a:noFill/>
        </p:spPr>
        <p:txBody>
          <a:bodyPr wrap="square" lIns="182880" rIns="18288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Replace Placeholder text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7C725A7-5B9A-FD7F-9AD0-01242A87FE50}"/>
              </a:ext>
            </a:extLst>
          </p:cNvPr>
          <p:cNvSpPr txBox="1"/>
          <p:nvPr/>
        </p:nvSpPr>
        <p:spPr>
          <a:xfrm>
            <a:off x="2834220" y="3342179"/>
            <a:ext cx="2074309" cy="584775"/>
          </a:xfrm>
          <a:prstGeom prst="rect">
            <a:avLst/>
          </a:prstGeom>
          <a:noFill/>
        </p:spPr>
        <p:txBody>
          <a:bodyPr wrap="square" lIns="182880" rIns="18288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Update Data in Chart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ADAD050-3D9B-3242-54CE-0DB2C269008D}"/>
              </a:ext>
            </a:extLst>
          </p:cNvPr>
          <p:cNvSpPr txBox="1"/>
          <p:nvPr/>
        </p:nvSpPr>
        <p:spPr>
          <a:xfrm>
            <a:off x="5058839" y="3342179"/>
            <a:ext cx="2074309" cy="584775"/>
          </a:xfrm>
          <a:prstGeom prst="rect">
            <a:avLst/>
          </a:prstGeom>
          <a:noFill/>
        </p:spPr>
        <p:txBody>
          <a:bodyPr wrap="square" lIns="182880" rIns="18288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Swap Out Imag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F9B7432-F20C-48A5-132E-695E7E952313}"/>
              </a:ext>
            </a:extLst>
          </p:cNvPr>
          <p:cNvSpPr txBox="1"/>
          <p:nvPr/>
        </p:nvSpPr>
        <p:spPr>
          <a:xfrm>
            <a:off x="7283468" y="3342179"/>
            <a:ext cx="2074309" cy="584775"/>
          </a:xfrm>
          <a:prstGeom prst="rect">
            <a:avLst/>
          </a:prstGeom>
          <a:noFill/>
        </p:spPr>
        <p:txBody>
          <a:bodyPr wrap="square" lIns="182880" rIns="18288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Adjust Colors and Style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2D37916-8B9F-19B3-CCDD-C19762EC8C4D}"/>
              </a:ext>
            </a:extLst>
          </p:cNvPr>
          <p:cNvSpPr txBox="1"/>
          <p:nvPr/>
        </p:nvSpPr>
        <p:spPr>
          <a:xfrm>
            <a:off x="9508091" y="3342179"/>
            <a:ext cx="2074309" cy="584775"/>
          </a:xfrm>
          <a:prstGeom prst="rect">
            <a:avLst/>
          </a:prstGeom>
          <a:noFill/>
        </p:spPr>
        <p:txBody>
          <a:bodyPr wrap="square" lIns="182880" rIns="18288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Duplicate or Remove Slid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2DEFB1B-31F5-59B8-ACBB-CC23420C40D8}"/>
              </a:ext>
            </a:extLst>
          </p:cNvPr>
          <p:cNvSpPr txBox="1"/>
          <p:nvPr/>
        </p:nvSpPr>
        <p:spPr>
          <a:xfrm>
            <a:off x="609600" y="3033833"/>
            <a:ext cx="625121" cy="369332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1.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6F882FB-6DA0-9989-0073-D7F828ACF95C}"/>
              </a:ext>
            </a:extLst>
          </p:cNvPr>
          <p:cNvSpPr txBox="1"/>
          <p:nvPr/>
        </p:nvSpPr>
        <p:spPr>
          <a:xfrm>
            <a:off x="2834213" y="3033833"/>
            <a:ext cx="625121" cy="369332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2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B891F3B-1576-2F50-2C81-B2736F3CE3B6}"/>
              </a:ext>
            </a:extLst>
          </p:cNvPr>
          <p:cNvSpPr txBox="1"/>
          <p:nvPr/>
        </p:nvSpPr>
        <p:spPr>
          <a:xfrm>
            <a:off x="5058832" y="3033833"/>
            <a:ext cx="625121" cy="369332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3.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DBD2FF5-E44E-5DF3-1F91-9FE2CC175878}"/>
              </a:ext>
            </a:extLst>
          </p:cNvPr>
          <p:cNvSpPr txBox="1"/>
          <p:nvPr/>
        </p:nvSpPr>
        <p:spPr>
          <a:xfrm>
            <a:off x="7283455" y="3033833"/>
            <a:ext cx="625121" cy="369332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4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BEE9CE7-13BD-0C16-3FFB-304F13061EF5}"/>
              </a:ext>
            </a:extLst>
          </p:cNvPr>
          <p:cNvSpPr txBox="1"/>
          <p:nvPr/>
        </p:nvSpPr>
        <p:spPr>
          <a:xfrm>
            <a:off x="9508089" y="3033833"/>
            <a:ext cx="625121" cy="369332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5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B26AE2-27E4-4AE8-3E37-CD11E890097A}"/>
              </a:ext>
            </a:extLst>
          </p:cNvPr>
          <p:cNvSpPr txBox="1"/>
          <p:nvPr/>
        </p:nvSpPr>
        <p:spPr>
          <a:xfrm>
            <a:off x="8098971" y="103374"/>
            <a:ext cx="3981200" cy="2208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100" dirty="0"/>
              <a:t>What could make this template better? Please tell us </a:t>
            </a:r>
            <a:r>
              <a:rPr lang="en-US" sz="1100" dirty="0">
                <a:hlinkClick r:id="rId5"/>
              </a:rPr>
              <a:t>here</a:t>
            </a:r>
            <a:r>
              <a:rPr lang="en-US" sz="11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248627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F71EFD-DA36-F1A0-B50F-5078E44E88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E318A5A-6FC7-2ADE-EA19-DC850D67A0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57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77EBBD-700C-11D5-40B0-8D8ED90CF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Chart Placeholder 16">
            <a:extLst>
              <a:ext uri="{FF2B5EF4-FFF2-40B4-BE49-F238E27FC236}">
                <a16:creationId xmlns:a16="http://schemas.microsoft.com/office/drawing/2014/main" id="{415ACE2D-F69F-21A6-9D62-F65082F83359}"/>
              </a:ext>
            </a:extLst>
          </p:cNvPr>
          <p:cNvGraphicFramePr>
            <a:graphicFrameLocks noGrp="1"/>
          </p:cNvGraphicFramePr>
          <p:nvPr>
            <p:ph type="chart" sz="quarter" idx="14"/>
            <p:extLst>
              <p:ext uri="{D42A27DB-BD31-4B8C-83A1-F6EECF244321}">
                <p14:modId xmlns:p14="http://schemas.microsoft.com/office/powerpoint/2010/main" val="473971240"/>
              </p:ext>
            </p:extLst>
          </p:nvPr>
        </p:nvGraphicFramePr>
        <p:xfrm>
          <a:off x="554038" y="1720850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CFC5D12E-2C2B-5E5B-20D5-FF76DAAF94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9BFCF5-CF03-F435-5DA6-C6295B6A1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0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66FCB8FB-D486-1838-4C53-F17909163D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867533A-7EB0-0B6A-148C-FA6FFD6B2E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0461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748364-AA0C-3F31-416C-EEB293B70E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5C463E1-95EB-65DE-F713-78C5B46738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5627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318A5A-6FC7-2ADE-EA19-DC850D67A0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30E97B4-0457-EE81-0021-51DFFEBAD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A22BCBCB-1E55-BF8C-A14B-525CAB5FEF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05E30C0D-BC8F-6A87-87F7-49F969952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01EC1B7-857F-AA0C-D810-F67CA4F89B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34" name="Chart Placeholder 16">
            <a:extLst>
              <a:ext uri="{FF2B5EF4-FFF2-40B4-BE49-F238E27FC236}">
                <a16:creationId xmlns:a16="http://schemas.microsoft.com/office/drawing/2014/main" id="{AF0D2BEA-2E08-9B8A-C940-FB5F7F7AEA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4824290"/>
              </p:ext>
            </p:extLst>
          </p:nvPr>
        </p:nvGraphicFramePr>
        <p:xfrm>
          <a:off x="554736" y="1720091"/>
          <a:ext cx="7014464" cy="44568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8944136F-5ACC-9456-D0C5-FF8A430A43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39291B9B-D371-9E2F-95D4-850F0C9B54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7405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4389E2-B531-8DB1-49B0-E03E179BC3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7EBBA4C-4AC9-6D29-302A-B971AB95CB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7688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C463E1-95EB-65DE-F713-78C5B46738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4D2670DF-635D-89CE-9199-8488DE0D4E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F5249EC-1A85-26C0-1D3F-466B36112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2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B179780A-9900-30C3-BAD0-79BA5B8D0D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DBC1C46-B24E-4AFC-8052-4BA9FC83BAC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9B0AFA8E-6EEB-B16E-E477-D5D3703F19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</a:t>
            </a:r>
            <a:r>
              <a:rPr lang="en-US" dirty="0" err="1"/>
              <a:t>consectetuer</a:t>
            </a:r>
            <a:br>
              <a:rPr lang="en-US" dirty="0"/>
            </a:br>
            <a:r>
              <a:rPr lang="en-US" dirty="0"/>
              <a:t>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</a:t>
            </a:r>
            <a:br>
              <a:rPr lang="en-US" dirty="0"/>
            </a:br>
            <a:r>
              <a:rPr lang="en-US" dirty="0" err="1"/>
              <a:t>Vivamus</a:t>
            </a:r>
            <a:r>
              <a:rPr lang="en-US" dirty="0"/>
              <a:t>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</a:t>
            </a:r>
            <a:r>
              <a:rPr lang="en-US" dirty="0" err="1"/>
              <a:t>senectus</a:t>
            </a:r>
            <a:r>
              <a:rPr lang="en-US" dirty="0"/>
              <a:t> et</a:t>
            </a:r>
            <a:br>
              <a:rPr lang="en-US" dirty="0"/>
            </a:br>
            <a:r>
              <a:rPr lang="en-US" dirty="0" err="1"/>
              <a:t>netus</a:t>
            </a:r>
            <a:r>
              <a:rPr lang="en-US" dirty="0"/>
              <a:t>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A7AE38C2-C645-99B2-DC98-8FBA5F31F2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34" name="Chart Placeholder 16">
            <a:extLst>
              <a:ext uri="{FF2B5EF4-FFF2-40B4-BE49-F238E27FC236}">
                <a16:creationId xmlns:a16="http://schemas.microsoft.com/office/drawing/2014/main" id="{B875B944-67E2-13B6-B5EB-DF6A55B0E6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57570905"/>
              </p:ext>
            </p:extLst>
          </p:nvPr>
        </p:nvGraphicFramePr>
        <p:xfrm>
          <a:off x="554737" y="1720091"/>
          <a:ext cx="5244083" cy="44568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7920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4D14E6-9B4D-ADE5-DB31-9FA6F6AF76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3A519A1-00BE-F774-BF4F-B4419F93A2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465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EBBA4C-4AC9-6D29-302A-B971AB95CB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DBB1982-704D-A1CB-B482-D222483D0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3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D22454F7-1167-40AB-6E12-FE214F1943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5459170D-9BA2-DB10-390F-2431385284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C6888DF3-F6FB-AF81-1357-4CB55F25D84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2863" y="1238250"/>
            <a:ext cx="5245100" cy="363538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20" name="Chart Placeholder 16">
            <a:extLst>
              <a:ext uri="{FF2B5EF4-FFF2-40B4-BE49-F238E27FC236}">
                <a16:creationId xmlns:a16="http://schemas.microsoft.com/office/drawing/2014/main" id="{5FB195EC-3DFA-A741-C1D7-D1B1FE1F9A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27425924"/>
              </p:ext>
            </p:extLst>
          </p:nvPr>
        </p:nvGraphicFramePr>
        <p:xfrm>
          <a:off x="554737" y="1720091"/>
          <a:ext cx="5244083" cy="44568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2" name="Chart Placeholder 16">
            <a:extLst>
              <a:ext uri="{FF2B5EF4-FFF2-40B4-BE49-F238E27FC236}">
                <a16:creationId xmlns:a16="http://schemas.microsoft.com/office/drawing/2014/main" id="{0BD998C3-33D1-4D7A-19EB-14098E7C7B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2841757"/>
              </p:ext>
            </p:extLst>
          </p:nvPr>
        </p:nvGraphicFramePr>
        <p:xfrm>
          <a:off x="6393179" y="1720091"/>
          <a:ext cx="5244083" cy="44568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6982AD86-5417-568B-6BFE-9EE4BD3EB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554779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13E7E-8089-C790-B3AA-1BDE76C64D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0C09397-611D-50EB-87C4-D361B1E849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617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A519A1-00BE-F774-BF4F-B4419F93A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">
            <a:extLst>
              <a:ext uri="{FF2B5EF4-FFF2-40B4-BE49-F238E27FC236}">
                <a16:creationId xmlns:a16="http://schemas.microsoft.com/office/drawing/2014/main" id="{587E9B1B-3BF9-E4C5-EE59-9A8CC120F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B37DE828-F9EE-2CBF-2131-06A6608CB7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4</a:t>
            </a:fld>
            <a:endParaRPr lang="en-IN"/>
          </a:p>
        </p:txBody>
      </p:sp>
      <p:sp>
        <p:nvSpPr>
          <p:cNvPr id="21" name="Text Placeholder 35">
            <a:extLst>
              <a:ext uri="{FF2B5EF4-FFF2-40B4-BE49-F238E27FC236}">
                <a16:creationId xmlns:a16="http://schemas.microsoft.com/office/drawing/2014/main" id="{5ECF833D-EA8B-176D-4293-25AA144BF6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C6A9E89-B92C-BDC5-6DAE-B98BED1733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-title text styles</a:t>
            </a:r>
          </a:p>
        </p:txBody>
      </p:sp>
      <p:graphicFrame>
        <p:nvGraphicFramePr>
          <p:cNvPr id="23" name="Table Placeholder 22">
            <a:extLst>
              <a:ext uri="{FF2B5EF4-FFF2-40B4-BE49-F238E27FC236}">
                <a16:creationId xmlns:a16="http://schemas.microsoft.com/office/drawing/2014/main" id="{748966CA-5E3A-0256-215D-5043403BC70E}"/>
              </a:ext>
            </a:extLst>
          </p:cNvPr>
          <p:cNvGraphicFramePr>
            <a:graphicFrameLocks noGrp="1"/>
          </p:cNvGraphicFramePr>
          <p:nvPr>
            <p:ph type="tbl" sz="quarter" idx="16"/>
            <p:extLst>
              <p:ext uri="{D42A27DB-BD31-4B8C-83A1-F6EECF244321}">
                <p14:modId xmlns:p14="http://schemas.microsoft.com/office/powerpoint/2010/main" val="3975105046"/>
              </p:ext>
            </p:extLst>
          </p:nvPr>
        </p:nvGraphicFramePr>
        <p:xfrm>
          <a:off x="554038" y="1720850"/>
          <a:ext cx="11083924" cy="4456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70981">
                  <a:extLst>
                    <a:ext uri="{9D8B030D-6E8A-4147-A177-3AD203B41FA5}">
                      <a16:colId xmlns:a16="http://schemas.microsoft.com/office/drawing/2014/main" val="726844715"/>
                    </a:ext>
                  </a:extLst>
                </a:gridCol>
                <a:gridCol w="2770981">
                  <a:extLst>
                    <a:ext uri="{9D8B030D-6E8A-4147-A177-3AD203B41FA5}">
                      <a16:colId xmlns:a16="http://schemas.microsoft.com/office/drawing/2014/main" val="1296154262"/>
                    </a:ext>
                  </a:extLst>
                </a:gridCol>
                <a:gridCol w="2770981">
                  <a:extLst>
                    <a:ext uri="{9D8B030D-6E8A-4147-A177-3AD203B41FA5}">
                      <a16:colId xmlns:a16="http://schemas.microsoft.com/office/drawing/2014/main" val="288968478"/>
                    </a:ext>
                  </a:extLst>
                </a:gridCol>
                <a:gridCol w="2770981">
                  <a:extLst>
                    <a:ext uri="{9D8B030D-6E8A-4147-A177-3AD203B41FA5}">
                      <a16:colId xmlns:a16="http://schemas.microsoft.com/office/drawing/2014/main" val="3267123359"/>
                    </a:ext>
                  </a:extLst>
                </a:gridCol>
              </a:tblGrid>
              <a:tr h="55710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+mn-lt"/>
                        </a:rPr>
                        <a:t>Header 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der 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der 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der 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181929"/>
                  </a:ext>
                </a:extLst>
              </a:tr>
              <a:tr h="55710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6402143"/>
                  </a:ext>
                </a:extLst>
              </a:tr>
              <a:tr h="55710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7218197"/>
                  </a:ext>
                </a:extLst>
              </a:tr>
              <a:tr h="55710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7851624"/>
                  </a:ext>
                </a:extLst>
              </a:tr>
              <a:tr h="55710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8035132"/>
                  </a:ext>
                </a:extLst>
              </a:tr>
              <a:tr h="55710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7022334"/>
                  </a:ext>
                </a:extLst>
              </a:tr>
              <a:tr h="55710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107781"/>
                  </a:ext>
                </a:extLst>
              </a:tr>
              <a:tr h="55710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21758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12847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81ABD-F451-7E2C-E961-BBD3DCD16A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A6271E3-3B75-3C35-757C-55CAE38AE0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2725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C09397-611D-50EB-87C4-D361B1E84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6FD81EAC-C4BD-71A4-DBEE-6F8E0D3B68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18" name="Text Placeholder 35">
            <a:extLst>
              <a:ext uri="{FF2B5EF4-FFF2-40B4-BE49-F238E27FC236}">
                <a16:creationId xmlns:a16="http://schemas.microsoft.com/office/drawing/2014/main" id="{7620966C-B9CC-C494-5A22-DE746DD449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7A3CE4DA-4072-6716-C9B2-62546DE0BB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437396E6-BCD0-29D7-FFD5-DCB4C84C9C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41753DBD-936E-7D4E-D738-5BA573E1A9AF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393179" y="1720091"/>
            <a:ext cx="5244083" cy="44568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B29628A6-A673-3E28-1356-CB772AA62D70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54737" y="1720091"/>
            <a:ext cx="5244083" cy="44568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23F18A40-5964-01B4-9ACA-E8CA24F94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4C3F-9F9F-4F6E-939C-2122BC1A1DB0}" type="slidenum">
              <a:rPr lang="en-IN" smtClean="0"/>
              <a:pPr/>
              <a:t>1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583513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271477-92DC-BF9A-10ED-7DD5CD335A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9622527-3EF9-7737-6EB8-73A4A08987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574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271E3-3B75-3C35-757C-55CAE38AE0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F8008B75-A552-3DAC-CE32-61C0FCCB3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3925" cy="779462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E954552A-F301-C1FB-ADA9-359CC2A7E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/>
          <a:p>
            <a:fld id="{125C4C3F-9F9F-4F6E-939C-2122BC1A1DB0}" type="slidenum">
              <a:rPr lang="en-IN" smtClean="0"/>
              <a:pPr/>
              <a:t>16</a:t>
            </a:fld>
            <a:endParaRPr lang="en-IN"/>
          </a:p>
        </p:txBody>
      </p:sp>
      <p:sp>
        <p:nvSpPr>
          <p:cNvPr id="18" name="Text Placeholder 35">
            <a:extLst>
              <a:ext uri="{FF2B5EF4-FFF2-40B4-BE49-F238E27FC236}">
                <a16:creationId xmlns:a16="http://schemas.microsoft.com/office/drawing/2014/main" id="{A1BD2632-C70F-C678-B8DA-726B2EDD55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9C3AD9FE-7CB1-AFE9-B191-DCFC1CED289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60439E50-1E75-C5E7-F71D-6EA087C93F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FEFF32EF-37F0-0557-0555-81F9C8B0449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11FC3B2E-1D5D-D61B-6C4E-C89CF192FA2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038" y="1720850"/>
            <a:ext cx="3282950" cy="44561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A3F5F4AA-719F-15DD-DF69-62765FAD1C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013" y="1720850"/>
            <a:ext cx="3282950" cy="44561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F93B7DB-8BCC-1B4F-A695-AE6E6E7A6B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4525" y="1720850"/>
            <a:ext cx="3282950" cy="44561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343027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083239-0FE6-DDAC-41B1-B4E569E272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BC6ED8D-77BB-B318-FFA6-3419B73EE1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4688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622527-3EF9-7737-6EB8-73A4A0898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Slide Number Placeholder 47">
            <a:extLst>
              <a:ext uri="{FF2B5EF4-FFF2-40B4-BE49-F238E27FC236}">
                <a16:creationId xmlns:a16="http://schemas.microsoft.com/office/drawing/2014/main" id="{FEEA2B40-6309-071B-6872-20FB6F90E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/>
          <a:p>
            <a:fld id="{125C4C3F-9F9F-4F6E-939C-2122BC1A1DB0}" type="slidenum">
              <a:rPr lang="en-IN" smtClean="0"/>
              <a:pPr/>
              <a:t>17</a:t>
            </a:fld>
            <a:endParaRPr lang="en-IN"/>
          </a:p>
        </p:txBody>
      </p:sp>
      <p:sp>
        <p:nvSpPr>
          <p:cNvPr id="39" name="Text Placeholder 35">
            <a:extLst>
              <a:ext uri="{FF2B5EF4-FFF2-40B4-BE49-F238E27FC236}">
                <a16:creationId xmlns:a16="http://schemas.microsoft.com/office/drawing/2014/main" id="{CD19791B-9558-805D-B2F9-ACAC2E9297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A7F37EA9-DF93-14A1-8AEB-5EA83279D0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21755FBD-057E-A053-4FBA-6001115FFB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8AA7D18C-0005-C326-9F22-AB14A7B8E9D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476991" y="1720091"/>
            <a:ext cx="2315764" cy="44568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44966F24-4CA6-D669-7298-B36F39EA75D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54737" y="1720091"/>
            <a:ext cx="2315764" cy="44568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6020C5CD-E8F1-7706-DAA2-5654B3503B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C4E1331A-A878-B3B6-DCE3-C23F460AD1C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399247" y="1720091"/>
            <a:ext cx="2315764" cy="44568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6" name="Text Placeholder 8">
            <a:extLst>
              <a:ext uri="{FF2B5EF4-FFF2-40B4-BE49-F238E27FC236}">
                <a16:creationId xmlns:a16="http://schemas.microsoft.com/office/drawing/2014/main" id="{E9B5CD17-208A-BFE7-4BE6-B80390C6B75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8C9AA450-B2BC-EEB9-1C93-0212C3FC6AD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9321500" y="1720091"/>
            <a:ext cx="2315764" cy="44568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3" name="Title 1">
            <a:extLst>
              <a:ext uri="{FF2B5EF4-FFF2-40B4-BE49-F238E27FC236}">
                <a16:creationId xmlns:a16="http://schemas.microsoft.com/office/drawing/2014/main" id="{DA8E1E2D-D4A4-DA46-81B9-535D61A02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439677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05EBCB-AAD5-A876-6262-AAA1BDA7BA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11514BE-FF99-3BAC-21FF-D6AB351F62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645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271E3-3B75-3C35-757C-55CAE38AE0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272B55B2-BEDE-5055-78A3-44F69F42995C}"/>
              </a:ext>
            </a:extLst>
          </p:cNvPr>
          <p:cNvSpPr txBox="1">
            <a:spLocks/>
          </p:cNvSpPr>
          <p:nvPr/>
        </p:nvSpPr>
        <p:spPr>
          <a:xfrm>
            <a:off x="685801" y="1393817"/>
            <a:ext cx="2412465" cy="3645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28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Header 1</a:t>
            </a:r>
            <a:endParaRPr lang="en-US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1633CFCA-E794-8316-7E6D-AD5EB339765C}"/>
              </a:ext>
            </a:extLst>
          </p:cNvPr>
          <p:cNvSpPr txBox="1">
            <a:spLocks/>
          </p:cNvSpPr>
          <p:nvPr/>
        </p:nvSpPr>
        <p:spPr>
          <a:xfrm>
            <a:off x="3537474" y="1393817"/>
            <a:ext cx="2338922" cy="3645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28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eader 2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93E0E4CA-7CC8-4602-8F96-6A173C164A00}"/>
              </a:ext>
            </a:extLst>
          </p:cNvPr>
          <p:cNvSpPr txBox="1">
            <a:spLocks/>
          </p:cNvSpPr>
          <p:nvPr/>
        </p:nvSpPr>
        <p:spPr>
          <a:xfrm>
            <a:off x="6315604" y="1393817"/>
            <a:ext cx="2338922" cy="3645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28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Header 3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BBC9C6E4-0BCE-1574-57B9-EFC318FAA857}"/>
              </a:ext>
            </a:extLst>
          </p:cNvPr>
          <p:cNvSpPr txBox="1">
            <a:spLocks/>
          </p:cNvSpPr>
          <p:nvPr/>
        </p:nvSpPr>
        <p:spPr>
          <a:xfrm>
            <a:off x="9093734" y="1393817"/>
            <a:ext cx="2338922" cy="3645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28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Header 4</a:t>
            </a:r>
            <a:endParaRPr lang="en-US" dirty="0"/>
          </a:p>
        </p:txBody>
      </p:sp>
      <p:sp>
        <p:nvSpPr>
          <p:cNvPr id="33" name="Slide Number Placeholder 32">
            <a:extLst>
              <a:ext uri="{FF2B5EF4-FFF2-40B4-BE49-F238E27FC236}">
                <a16:creationId xmlns:a16="http://schemas.microsoft.com/office/drawing/2014/main" id="{8BA6346D-95A4-0B1B-3747-383DB56AE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/>
          <a:p>
            <a:fld id="{125C4C3F-9F9F-4F6E-939C-2122BC1A1DB0}" type="slidenum">
              <a:rPr lang="en-IN" smtClean="0"/>
              <a:pPr/>
              <a:t>18</a:t>
            </a:fld>
            <a:endParaRPr lang="en-IN"/>
          </a:p>
        </p:txBody>
      </p:sp>
      <p:sp>
        <p:nvSpPr>
          <p:cNvPr id="32" name="Text Placeholder 35">
            <a:extLst>
              <a:ext uri="{FF2B5EF4-FFF2-40B4-BE49-F238E27FC236}">
                <a16:creationId xmlns:a16="http://schemas.microsoft.com/office/drawing/2014/main" id="{0F06717B-748F-022E-87D6-56B756EE87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7EF5B34A-D887-E59F-3A0A-8BB9A5FADB7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r>
              <a:rPr lang="en-US" dirty="0"/>
              <a:t>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est. </a:t>
            </a:r>
            <a:r>
              <a:rPr lang="en-US" dirty="0" err="1"/>
              <a:t>Vivamus</a:t>
            </a:r>
            <a:r>
              <a:rPr lang="en-US" dirty="0"/>
              <a:t>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3831E32D-6045-D168-8957-C0A93288BEC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r>
              <a:rPr lang="en-US" dirty="0"/>
              <a:t>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est. </a:t>
            </a:r>
            <a:r>
              <a:rPr lang="en-US" dirty="0" err="1"/>
              <a:t>Vivamus</a:t>
            </a:r>
            <a:r>
              <a:rPr lang="en-US" dirty="0"/>
              <a:t>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B12D779F-0747-5AB7-EAC3-7EE47F11E45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r>
              <a:rPr lang="en-US" dirty="0"/>
              <a:t>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est. </a:t>
            </a:r>
            <a:r>
              <a:rPr lang="en-US" dirty="0" err="1"/>
              <a:t>Vivamus</a:t>
            </a:r>
            <a:r>
              <a:rPr lang="en-US" dirty="0"/>
              <a:t>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D84F7B0-77E0-4741-977C-02C58647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r>
              <a:rPr lang="en-US" dirty="0"/>
              <a:t>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est. </a:t>
            </a:r>
            <a:r>
              <a:rPr lang="en-US" dirty="0" err="1"/>
              <a:t>Vivamus</a:t>
            </a:r>
            <a:r>
              <a:rPr lang="en-US" dirty="0"/>
              <a:t>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42CE226F-FF90-BD4B-B7C5-8C6182053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872570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BB9962-822E-C83F-487C-180959E9E7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061C532-D2B4-128A-B1ED-DAFBE30FE4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452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1514BE-FF99-3BAC-21FF-D6AB351F6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1">
            <a:extLst>
              <a:ext uri="{FF2B5EF4-FFF2-40B4-BE49-F238E27FC236}">
                <a16:creationId xmlns:a16="http://schemas.microsoft.com/office/drawing/2014/main" id="{FAF396E4-32E6-6C02-AD88-8005B8312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24" name="Text Placeholder 35">
            <a:extLst>
              <a:ext uri="{FF2B5EF4-FFF2-40B4-BE49-F238E27FC236}">
                <a16:creationId xmlns:a16="http://schemas.microsoft.com/office/drawing/2014/main" id="{65F35A68-9FEC-55F0-ACE0-C359909EAC39}"/>
              </a:ext>
            </a:extLst>
          </p:cNvPr>
          <p:cNvSpPr txBox="1">
            <a:spLocks/>
          </p:cNvSpPr>
          <p:nvPr/>
        </p:nvSpPr>
        <p:spPr>
          <a:xfrm>
            <a:off x="554038" y="6411456"/>
            <a:ext cx="7446962" cy="294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ource: Complete if required</a:t>
            </a:r>
            <a:endParaRPr lang="en-US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CA6C22F-10D5-3FA8-8B7B-50FAC4DD72C2}"/>
              </a:ext>
            </a:extLst>
          </p:cNvPr>
          <p:cNvSpPr txBox="1">
            <a:spLocks/>
          </p:cNvSpPr>
          <p:nvPr/>
        </p:nvSpPr>
        <p:spPr>
          <a:xfrm>
            <a:off x="2377439" y="1308099"/>
            <a:ext cx="9259823" cy="99695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200"/>
              </a:spcAft>
            </a:pPr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cxnSp>
        <p:nvCxnSpPr>
          <p:cNvPr id="26" name="BottomLine">
            <a:extLst>
              <a:ext uri="{FF2B5EF4-FFF2-40B4-BE49-F238E27FC236}">
                <a16:creationId xmlns:a16="http://schemas.microsoft.com/office/drawing/2014/main" id="{9E435F75-1C66-CC6F-E7DA-09CD56C98B8E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D6864E5F-E2BE-C005-9ED3-F592A22FEEB5}"/>
              </a:ext>
            </a:extLst>
          </p:cNvPr>
          <p:cNvSpPr txBox="1">
            <a:spLocks/>
          </p:cNvSpPr>
          <p:nvPr/>
        </p:nvSpPr>
        <p:spPr>
          <a:xfrm>
            <a:off x="2377439" y="2478880"/>
            <a:ext cx="9259823" cy="99695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200"/>
              </a:spcAft>
            </a:pPr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cxnSp>
        <p:nvCxnSpPr>
          <p:cNvPr id="28" name="BottomLine">
            <a:extLst>
              <a:ext uri="{FF2B5EF4-FFF2-40B4-BE49-F238E27FC236}">
                <a16:creationId xmlns:a16="http://schemas.microsoft.com/office/drawing/2014/main" id="{9D61C41F-2907-4C74-F569-183885FF175F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1AD454E4-BA0A-BC79-55B9-73910DCA1226}"/>
              </a:ext>
            </a:extLst>
          </p:cNvPr>
          <p:cNvSpPr txBox="1">
            <a:spLocks/>
          </p:cNvSpPr>
          <p:nvPr/>
        </p:nvSpPr>
        <p:spPr>
          <a:xfrm>
            <a:off x="2377439" y="3649660"/>
            <a:ext cx="9259823" cy="99695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200"/>
              </a:spcAft>
            </a:pPr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cxnSp>
        <p:nvCxnSpPr>
          <p:cNvPr id="30" name="BottomLine">
            <a:extLst>
              <a:ext uri="{FF2B5EF4-FFF2-40B4-BE49-F238E27FC236}">
                <a16:creationId xmlns:a16="http://schemas.microsoft.com/office/drawing/2014/main" id="{A92F033C-7FBC-8815-C8A1-1E5739E23D8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7914B936-536E-B484-25B0-F6DE654B2CE9}"/>
              </a:ext>
            </a:extLst>
          </p:cNvPr>
          <p:cNvSpPr txBox="1">
            <a:spLocks/>
          </p:cNvSpPr>
          <p:nvPr/>
        </p:nvSpPr>
        <p:spPr>
          <a:xfrm>
            <a:off x="2377439" y="4820439"/>
            <a:ext cx="9259823" cy="99695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200"/>
              </a:spcAft>
            </a:pPr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C71CC375-F982-660B-0DF3-8C9E0498DE2C}"/>
              </a:ext>
            </a:extLst>
          </p:cNvPr>
          <p:cNvSpPr txBox="1">
            <a:spLocks/>
          </p:cNvSpPr>
          <p:nvPr/>
        </p:nvSpPr>
        <p:spPr>
          <a:xfrm>
            <a:off x="725948" y="1505858"/>
            <a:ext cx="1388843" cy="71653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28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Header 1</a:t>
            </a:r>
            <a:endParaRPr lang="en-US" dirty="0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6552EA6-D0A1-59FE-8D2A-228DB97CE2F7}"/>
              </a:ext>
            </a:extLst>
          </p:cNvPr>
          <p:cNvSpPr txBox="1">
            <a:spLocks/>
          </p:cNvSpPr>
          <p:nvPr/>
        </p:nvSpPr>
        <p:spPr>
          <a:xfrm>
            <a:off x="725948" y="2803638"/>
            <a:ext cx="1388843" cy="71653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28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Header 2</a:t>
            </a:r>
            <a:endParaRPr lang="en-US" dirty="0"/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A29EC3DA-E66F-B480-6A65-6DC4A114D941}"/>
              </a:ext>
            </a:extLst>
          </p:cNvPr>
          <p:cNvSpPr txBox="1">
            <a:spLocks/>
          </p:cNvSpPr>
          <p:nvPr/>
        </p:nvSpPr>
        <p:spPr>
          <a:xfrm>
            <a:off x="725948" y="3974418"/>
            <a:ext cx="1388843" cy="71653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28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Header 3</a:t>
            </a:r>
            <a:endParaRPr lang="en-US" dirty="0"/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80D29F97-8510-C896-62CA-3D5707C32076}"/>
              </a:ext>
            </a:extLst>
          </p:cNvPr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725948" y="5145197"/>
            <a:ext cx="1388843" cy="71653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/>
              <a:t>Header 4</a:t>
            </a:r>
            <a:endParaRPr lang="en-US" dirty="0"/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3518C5D2-4DF6-5416-06D7-2647FB2E48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4C3F-9F9F-4F6E-939C-2122BC1A1DB0}" type="slidenum">
              <a:rPr lang="en-IN" smtClean="0"/>
              <a:pPr/>
              <a:t>1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096594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22FCAF-2831-03F2-F65A-59BCF120E6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471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5847BBA3-F45F-0943-2E9D-0FA79CB1AC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15BFA2C-9DD0-F793-FACB-2DB8D9D325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5A007C97-D882-6FC1-AB7A-BD9C21367A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4126716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DA78EDB6-FD0C-4BF7-6FCD-C7071536EC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0074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Title 1">
            <a:extLst>
              <a:ext uri="{FF2B5EF4-FFF2-40B4-BE49-F238E27FC236}">
                <a16:creationId xmlns:a16="http://schemas.microsoft.com/office/drawing/2014/main" id="{11A368BB-D58D-1FAC-F7B1-1CC1DB047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63" name="Slide Number Placeholder 5">
            <a:extLst>
              <a:ext uri="{FF2B5EF4-FFF2-40B4-BE49-F238E27FC236}">
                <a16:creationId xmlns:a16="http://schemas.microsoft.com/office/drawing/2014/main" id="{9CB848C5-93E4-CFEA-4BA2-AA1EEC001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20</a:t>
            </a:fld>
            <a:endParaRPr lang="en-IN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5570F500-05AC-C219-EE7C-634E2BD26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4F78AA37-4395-435F-F092-F90667143A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66" name="Text Placeholder 8">
            <a:extLst>
              <a:ext uri="{FF2B5EF4-FFF2-40B4-BE49-F238E27FC236}">
                <a16:creationId xmlns:a16="http://schemas.microsoft.com/office/drawing/2014/main" id="{BE86C08C-6EC0-DA96-33A3-5580DDEE9D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67" name="Text Placeholder 8">
            <a:extLst>
              <a:ext uri="{FF2B5EF4-FFF2-40B4-BE49-F238E27FC236}">
                <a16:creationId xmlns:a16="http://schemas.microsoft.com/office/drawing/2014/main" id="{E91CE65F-7C8F-AA71-F852-91F7625989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68" name="Text Placeholder 8">
            <a:extLst>
              <a:ext uri="{FF2B5EF4-FFF2-40B4-BE49-F238E27FC236}">
                <a16:creationId xmlns:a16="http://schemas.microsoft.com/office/drawing/2014/main" id="{5D9224A1-7F85-1AB7-7183-45FB4C398E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  <p:sp>
        <p:nvSpPr>
          <p:cNvPr id="69" name="Text Placeholder 8">
            <a:extLst>
              <a:ext uri="{FF2B5EF4-FFF2-40B4-BE49-F238E27FC236}">
                <a16:creationId xmlns:a16="http://schemas.microsoft.com/office/drawing/2014/main" id="{DBBE4DB9-D5B4-39FB-B55D-09963552927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38117" y="1713260"/>
            <a:ext cx="2315764" cy="276999"/>
          </a:xfrm>
        </p:spPr>
        <p:txBody>
          <a:bodyPr anchor="t">
            <a:sp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Text Placeholder 21">
            <a:extLst>
              <a:ext uri="{FF2B5EF4-FFF2-40B4-BE49-F238E27FC236}">
                <a16:creationId xmlns:a16="http://schemas.microsoft.com/office/drawing/2014/main" id="{DD630A81-25C9-0A57-FCD6-A3F9C4FBF69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565CC049-2EFB-B8CE-FBCA-28F1C064297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4C84359-00DF-8DFB-E6D4-6F7B099C66B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DE462E49-72C0-EAE9-89BD-D73AE524EA8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5400161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3CDEBD-ED65-970A-64EE-798A074E06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5987660-59DC-2DAE-D1DE-FE2586ACD2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22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78EDB6-FD0C-4BF7-6FCD-C707153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Title 1">
            <a:extLst>
              <a:ext uri="{FF2B5EF4-FFF2-40B4-BE49-F238E27FC236}">
                <a16:creationId xmlns:a16="http://schemas.microsoft.com/office/drawing/2014/main" id="{524B716D-7BE7-D43E-06F9-909606468F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63" name="Slide Number Placeholder 5">
            <a:extLst>
              <a:ext uri="{FF2B5EF4-FFF2-40B4-BE49-F238E27FC236}">
                <a16:creationId xmlns:a16="http://schemas.microsoft.com/office/drawing/2014/main" id="{24B0773A-0DFA-FB56-AA78-413DF1B21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21</a:t>
            </a:fld>
            <a:endParaRPr lang="en-IN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D095213E-C1D9-0E15-2B34-DDF85836E0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C0F767-038B-A66E-11E9-1D6CD6901D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/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 algn="ctr"/>
            <a:r>
              <a:rPr lang="en-US" dirty="0"/>
              <a:t>Header 1</a:t>
            </a:r>
          </a:p>
        </p:txBody>
      </p:sp>
      <p:sp>
        <p:nvSpPr>
          <p:cNvPr id="66" name="Text Placeholder 8">
            <a:extLst>
              <a:ext uri="{FF2B5EF4-FFF2-40B4-BE49-F238E27FC236}">
                <a16:creationId xmlns:a16="http://schemas.microsoft.com/office/drawing/2014/main" id="{E047AE19-E044-F61E-73B0-6D9C6AF267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/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 algn="ctr"/>
            <a:r>
              <a:rPr lang="en-US" dirty="0"/>
              <a:t>Header 2</a:t>
            </a:r>
          </a:p>
        </p:txBody>
      </p:sp>
      <p:sp>
        <p:nvSpPr>
          <p:cNvPr id="67" name="Text Placeholder 8">
            <a:extLst>
              <a:ext uri="{FF2B5EF4-FFF2-40B4-BE49-F238E27FC236}">
                <a16:creationId xmlns:a16="http://schemas.microsoft.com/office/drawing/2014/main" id="{44019887-E755-24C8-E8B4-89ADA11EE6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/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 algn="ctr"/>
            <a:r>
              <a:rPr lang="en-US" dirty="0"/>
              <a:t>Header 3</a:t>
            </a:r>
          </a:p>
        </p:txBody>
      </p:sp>
      <p:sp>
        <p:nvSpPr>
          <p:cNvPr id="68" name="Text Placeholder 8">
            <a:extLst>
              <a:ext uri="{FF2B5EF4-FFF2-40B4-BE49-F238E27FC236}">
                <a16:creationId xmlns:a16="http://schemas.microsoft.com/office/drawing/2014/main" id="{D7E7051C-F815-7919-5014-8E222AACAC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/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 algn="ctr"/>
            <a:r>
              <a:rPr lang="en-US" dirty="0"/>
              <a:t>Header 4</a:t>
            </a:r>
          </a:p>
        </p:txBody>
      </p:sp>
      <p:sp>
        <p:nvSpPr>
          <p:cNvPr id="70" name="Text Placeholder 21">
            <a:extLst>
              <a:ext uri="{FF2B5EF4-FFF2-40B4-BE49-F238E27FC236}">
                <a16:creationId xmlns:a16="http://schemas.microsoft.com/office/drawing/2014/main" id="{15B7DCA6-090A-CFF4-8257-BA338FE7D4F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B5A660B6-CCFC-6BE3-DE92-E565BDDD182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12CAB178-E7A6-653F-DF4F-E45CD33BB7F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E1805D5-EC4A-CD27-1535-D01BDD69CD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A35719AA-949B-1FAB-053D-DDA07C367DF6}"/>
              </a:ext>
            </a:extLst>
          </p:cNvPr>
          <p:cNvPicPr>
            <a:picLocks noGrp="1" noChangeAspect="1"/>
          </p:cNvPicPr>
          <p:nvPr>
            <p:ph type="pic" sz="quarter" idx="28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33" r="133"/>
          <a:stretch>
            <a:fillRect/>
          </a:stretch>
        </p:blipFill>
        <p:spPr/>
      </p:pic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9C6A07CA-FEEB-D206-3378-6619B261C9C5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3" r="133"/>
          <a:stretch>
            <a:fillRect/>
          </a:stretch>
        </p:blipFill>
        <p:spPr/>
      </p:pic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738A9B33-6920-0460-74F9-C60D508AC282}"/>
              </a:ext>
            </a:extLst>
          </p:cNvPr>
          <p:cNvPicPr>
            <a:picLocks noGrp="1" noChangeAspect="1"/>
          </p:cNvPicPr>
          <p:nvPr>
            <p:ph type="pic" sz="quarter" idx="30"/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133" r="133"/>
          <a:stretch>
            <a:fillRect/>
          </a:stretch>
        </p:blipFill>
        <p:spPr/>
      </p:pic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895365AD-F85A-5458-3A89-214F8CC5AC11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133" r="133"/>
          <a:stretch>
            <a:fillRect/>
          </a:stretch>
        </p:blipFill>
        <p:spPr/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E84A8CC-72A5-56B1-4C03-53B783F8C9A8}"/>
              </a:ext>
            </a:extLst>
          </p:cNvPr>
          <p:cNvSpPr txBox="1"/>
          <p:nvPr/>
        </p:nvSpPr>
        <p:spPr>
          <a:xfrm>
            <a:off x="9282002" y="0"/>
            <a:ext cx="1752600" cy="658368"/>
          </a:xfrm>
          <a:prstGeom prst="rect">
            <a:avLst/>
          </a:prstGeom>
          <a:solidFill>
            <a:srgbClr val="FFFF00"/>
          </a:solidFill>
        </p:spPr>
        <p:txBody>
          <a:bodyPr vert="horz" lIns="0" tIns="0" rIns="0" bIns="0" rtlCol="0" anchor="ctr" anchorCtr="1">
            <a:no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  <a:latin typeface="arial" panose="020B0604020202020204" pitchFamily="34" charset="0"/>
              </a:rPr>
              <a:t>OPTIONAL SLIDE</a:t>
            </a:r>
          </a:p>
        </p:txBody>
      </p:sp>
    </p:spTree>
    <p:extLst>
      <p:ext uri="{BB962C8B-B14F-4D97-AF65-F5344CB8AC3E}">
        <p14:creationId xmlns:p14="http://schemas.microsoft.com/office/powerpoint/2010/main" val="5147282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FB846A8-2D5F-14BF-5AF4-C96F0EFC7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6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4D0E1DB5-8EDE-5957-2659-4A8FD326C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22</a:t>
            </a:fld>
            <a:endParaRPr lang="en-IN"/>
          </a:p>
        </p:txBody>
      </p:sp>
      <p:sp>
        <p:nvSpPr>
          <p:cNvPr id="18" name="Text Placeholder 35">
            <a:extLst>
              <a:ext uri="{FF2B5EF4-FFF2-40B4-BE49-F238E27FC236}">
                <a16:creationId xmlns:a16="http://schemas.microsoft.com/office/drawing/2014/main" id="{73CE5129-94FA-D08A-ABE4-B98227757D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C1447FA-2A38-4BAE-41D0-836D0DC3A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B319E2FF-5E2F-7A95-8E85-FD2C7C26D66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546CB9E-BDF6-29F0-61AE-1B2F266AA6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ACA2D1E-7B63-4FCC-B350-CE01434BFA2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E14CCB1C-9CA7-6AF2-3387-BC81E1C7AF4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BE635D72-BCC5-479C-1E77-DFE5A6415F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8888" y="2474786"/>
            <a:ext cx="1880229" cy="246221"/>
          </a:xfrm>
        </p:spPr>
        <p:txBody>
          <a:bodyPr wrap="square" anchor="ctr">
            <a:sp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7FFC4712-7560-5B74-C40F-15DCBA01BEB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888" y="3509450"/>
            <a:ext cx="1880229" cy="246221"/>
          </a:xfrm>
        </p:spPr>
        <p:txBody>
          <a:bodyPr wrap="square" anchor="ctr">
            <a:sp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06EF8BEF-F982-2DCB-F471-B7D6D62D0DD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8888" y="4544110"/>
            <a:ext cx="1880229" cy="246221"/>
          </a:xfrm>
        </p:spPr>
        <p:txBody>
          <a:bodyPr wrap="square" anchor="ctr">
            <a:sp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888DA00-77A5-E95B-6957-DE8B3E2D758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8888" y="5578768"/>
            <a:ext cx="1880229" cy="246221"/>
          </a:xfrm>
        </p:spPr>
        <p:txBody>
          <a:bodyPr wrap="square" anchor="ctr">
            <a:sp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1400EF2-0D69-237C-5DFA-45437732E1E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-title text styles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C2CAEB60-7110-439A-3854-1C9C9395497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4736" y="1737249"/>
            <a:ext cx="2083254" cy="246221"/>
          </a:xfrm>
        </p:spPr>
        <p:txBody>
          <a:bodyPr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Lorem ipsum dolor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B9DFC3A-B14C-7DFA-785B-AD416F5D86F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55900" y="1737249"/>
            <a:ext cx="8881362" cy="246221"/>
          </a:xfrm>
        </p:spPr>
        <p:txBody>
          <a:bodyPr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19533830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260C9C-A1A0-BDC4-1296-D293DFD0A0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516B74B-E4BC-F066-C032-A339FE6281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8540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1C532-D2B4-128A-B1ED-DAFBE30FE4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1">
            <a:extLst>
              <a:ext uri="{FF2B5EF4-FFF2-40B4-BE49-F238E27FC236}">
                <a16:creationId xmlns:a16="http://schemas.microsoft.com/office/drawing/2014/main" id="{8351D376-E02B-E74A-2186-31598E6DD3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39" name="Text Placeholder 35">
            <a:extLst>
              <a:ext uri="{FF2B5EF4-FFF2-40B4-BE49-F238E27FC236}">
                <a16:creationId xmlns:a16="http://schemas.microsoft.com/office/drawing/2014/main" id="{78753E5D-EFF0-B65A-672B-2949C74506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1C11ACD9-1F75-BE38-03EA-0D03A97C5B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-title text styles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604CAEFC-9C43-E6C2-497E-C95CBA30721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</a:t>
            </a:r>
            <a:br>
              <a:rPr lang="en-US" dirty="0"/>
            </a:br>
            <a:r>
              <a:rPr lang="en-US" dirty="0"/>
              <a:t>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r>
              <a:rPr lang="en-US" dirty="0"/>
              <a:t>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Fusce</a:t>
            </a:r>
            <a:br>
              <a:rPr lang="en-US" dirty="0"/>
            </a:br>
            <a:r>
              <a:rPr lang="en-US" dirty="0"/>
              <a:t>est. </a:t>
            </a:r>
            <a:r>
              <a:rPr lang="en-US" dirty="0" err="1"/>
              <a:t>Vivamus</a:t>
            </a:r>
            <a:r>
              <a:rPr lang="en-US" dirty="0"/>
              <a:t>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</a:t>
            </a:r>
            <a:br>
              <a:rPr lang="en-US" dirty="0"/>
            </a:br>
            <a:r>
              <a:rPr lang="en-US" dirty="0"/>
              <a:t>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pic>
        <p:nvPicPr>
          <p:cNvPr id="446" name="Picture Placeholder 445">
            <a:extLst>
              <a:ext uri="{FF2B5EF4-FFF2-40B4-BE49-F238E27FC236}">
                <a16:creationId xmlns:a16="http://schemas.microsoft.com/office/drawing/2014/main" id="{25288B03-1D0A-CA22-3EC6-D007847E874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-12126" b="-12126"/>
          <a:stretch>
            <a:fillRect/>
          </a:stretch>
        </p:blipFill>
        <p:spPr>
          <a:xfrm>
            <a:off x="4805363" y="1720850"/>
            <a:ext cx="6832600" cy="4456113"/>
          </a:xfrm>
        </p:spPr>
      </p:pic>
      <p:sp>
        <p:nvSpPr>
          <p:cNvPr id="447" name="Slide Number Placeholder 446">
            <a:extLst>
              <a:ext uri="{FF2B5EF4-FFF2-40B4-BE49-F238E27FC236}">
                <a16:creationId xmlns:a16="http://schemas.microsoft.com/office/drawing/2014/main" id="{B5CD1209-546B-8DB7-CF87-748229831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4C3F-9F9F-4F6E-939C-2122BC1A1DB0}" type="slidenum">
              <a:rPr lang="en-IN" smtClean="0"/>
              <a:pPr/>
              <a:t>2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599643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2FBD9B-4210-639E-F543-C1481878D4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90A58C3-5416-B69C-AD04-676E338B42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561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16B74B-E4BC-F066-C032-A339FE628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1">
            <a:extLst>
              <a:ext uri="{FF2B5EF4-FFF2-40B4-BE49-F238E27FC236}">
                <a16:creationId xmlns:a16="http://schemas.microsoft.com/office/drawing/2014/main" id="{ED31F774-3200-2854-081B-DD88E04046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3925" cy="779462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447" name="Slide Number Placeholder 446">
            <a:extLst>
              <a:ext uri="{FF2B5EF4-FFF2-40B4-BE49-F238E27FC236}">
                <a16:creationId xmlns:a16="http://schemas.microsoft.com/office/drawing/2014/main" id="{CB3E1933-78F5-3FE3-88E6-638B9A534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/>
          <a:p>
            <a:fld id="{125C4C3F-9F9F-4F6E-939C-2122BC1A1DB0}" type="slidenum">
              <a:rPr lang="en-IN" smtClean="0"/>
              <a:pPr/>
              <a:t>24</a:t>
            </a:fld>
            <a:endParaRPr lang="en-IN"/>
          </a:p>
        </p:txBody>
      </p:sp>
      <p:sp>
        <p:nvSpPr>
          <p:cNvPr id="39" name="Text Placeholder 35">
            <a:extLst>
              <a:ext uri="{FF2B5EF4-FFF2-40B4-BE49-F238E27FC236}">
                <a16:creationId xmlns:a16="http://schemas.microsoft.com/office/drawing/2014/main" id="{7F65943D-3B95-71C1-8A01-BEC39E9375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pic>
        <p:nvPicPr>
          <p:cNvPr id="446" name="Picture Placeholder 445">
            <a:extLst>
              <a:ext uri="{FF2B5EF4-FFF2-40B4-BE49-F238E27FC236}">
                <a16:creationId xmlns:a16="http://schemas.microsoft.com/office/drawing/2014/main" id="{3D89EE9E-A011-D74F-0D5B-6B242B9D3D6D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-8028" b="-8028"/>
          <a:stretch>
            <a:fillRect/>
          </a:stretch>
        </p:blipFill>
        <p:spPr>
          <a:xfrm>
            <a:off x="3530600" y="1237702"/>
            <a:ext cx="8106664" cy="4939255"/>
          </a:xfr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F27B084-E06B-191D-31B6-D8F5C36D85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e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</a:t>
            </a:r>
          </a:p>
          <a:p>
            <a:r>
              <a:rPr lang="en-US" sz="1600" dirty="0"/>
              <a:t>Maecenas </a:t>
            </a:r>
            <a:r>
              <a:rPr lang="en-US" sz="1600" dirty="0" err="1"/>
              <a:t>porttitor</a:t>
            </a:r>
            <a:r>
              <a:rPr lang="en-US" sz="1600" dirty="0"/>
              <a:t> </a:t>
            </a:r>
            <a:r>
              <a:rPr lang="en-US" sz="1600" dirty="0" err="1"/>
              <a:t>congue</a:t>
            </a:r>
            <a:r>
              <a:rPr lang="en-US" sz="1600" dirty="0"/>
              <a:t> </a:t>
            </a:r>
            <a:r>
              <a:rPr lang="en-US" sz="1600" dirty="0" err="1"/>
              <a:t>massa</a:t>
            </a:r>
            <a:r>
              <a:rPr lang="en-US" sz="1600" dirty="0"/>
              <a:t>. </a:t>
            </a:r>
            <a:r>
              <a:rPr lang="en-US" sz="1600" dirty="0" err="1"/>
              <a:t>Fusce</a:t>
            </a:r>
            <a:r>
              <a:rPr lang="en-US" sz="1600" dirty="0"/>
              <a:t> </a:t>
            </a:r>
            <a:r>
              <a:rPr lang="en-US" sz="1600" dirty="0" err="1"/>
              <a:t>posuere</a:t>
            </a:r>
            <a:r>
              <a:rPr lang="en-US" sz="1600" dirty="0"/>
              <a:t>, magna sed pulvinar </a:t>
            </a:r>
            <a:r>
              <a:rPr lang="en-US" sz="1600" dirty="0" err="1"/>
              <a:t>ultricies</a:t>
            </a:r>
            <a:r>
              <a:rPr lang="en-US" sz="1600" dirty="0"/>
              <a:t>, </a:t>
            </a:r>
            <a:r>
              <a:rPr lang="en-US" sz="1600" dirty="0" err="1"/>
              <a:t>purus</a:t>
            </a:r>
            <a:r>
              <a:rPr lang="en-US" sz="1600" dirty="0"/>
              <a:t> </a:t>
            </a:r>
            <a:r>
              <a:rPr lang="en-US" sz="1600" dirty="0" err="1"/>
              <a:t>lectus</a:t>
            </a:r>
            <a:r>
              <a:rPr lang="en-US" sz="1600" dirty="0"/>
              <a:t> </a:t>
            </a:r>
            <a:r>
              <a:rPr lang="en-US" sz="1600" dirty="0" err="1"/>
              <a:t>malesuada</a:t>
            </a:r>
            <a:br>
              <a:rPr lang="en-US" sz="1600" dirty="0"/>
            </a:br>
            <a:r>
              <a:rPr lang="en-US" sz="1600" dirty="0"/>
              <a:t>libero, sit </a:t>
            </a:r>
            <a:r>
              <a:rPr lang="en-US" sz="1600" dirty="0" err="1"/>
              <a:t>amet</a:t>
            </a:r>
            <a:r>
              <a:rPr lang="en-US" sz="1600" dirty="0"/>
              <a:t> </a:t>
            </a:r>
            <a:r>
              <a:rPr lang="en-US" sz="1600" dirty="0" err="1"/>
              <a:t>commodo</a:t>
            </a:r>
            <a:r>
              <a:rPr lang="en-US" sz="1600" dirty="0"/>
              <a:t> magna</a:t>
            </a:r>
            <a:br>
              <a:rPr lang="en-US" sz="1600" dirty="0"/>
            </a:br>
            <a:r>
              <a:rPr lang="en-US" sz="1600" dirty="0"/>
              <a:t>eros </a:t>
            </a:r>
            <a:r>
              <a:rPr lang="en-US" sz="1600" dirty="0" err="1"/>
              <a:t>quis</a:t>
            </a:r>
            <a:r>
              <a:rPr lang="en-US" sz="1600" dirty="0"/>
              <a:t> </a:t>
            </a:r>
            <a:r>
              <a:rPr lang="en-US" sz="1600" dirty="0" err="1"/>
              <a:t>urna</a:t>
            </a:r>
            <a:r>
              <a:rPr lang="en-US" sz="1600" dirty="0"/>
              <a:t>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50B643B-7323-69AD-4365-AB8F3CAF3779}"/>
              </a:ext>
            </a:extLst>
          </p:cNvPr>
          <p:cNvSpPr txBox="1"/>
          <p:nvPr/>
        </p:nvSpPr>
        <p:spPr>
          <a:xfrm>
            <a:off x="9282002" y="0"/>
            <a:ext cx="1752600" cy="658368"/>
          </a:xfrm>
          <a:prstGeom prst="rect">
            <a:avLst/>
          </a:prstGeom>
          <a:solidFill>
            <a:srgbClr val="FFFF00"/>
          </a:solidFill>
        </p:spPr>
        <p:txBody>
          <a:bodyPr vert="horz" lIns="0" tIns="0" rIns="0" bIns="0" rtlCol="0" anchor="ctr" anchorCtr="1">
            <a:no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  <a:latin typeface="arial" panose="020B0604020202020204" pitchFamily="34" charset="0"/>
              </a:rPr>
              <a:t>OPTIONAL SLIDE</a:t>
            </a:r>
          </a:p>
        </p:txBody>
      </p:sp>
    </p:spTree>
    <p:extLst>
      <p:ext uri="{BB962C8B-B14F-4D97-AF65-F5344CB8AC3E}">
        <p14:creationId xmlns:p14="http://schemas.microsoft.com/office/powerpoint/2010/main" val="4074054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F1471F-5F53-E376-6DF0-24B7A96490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DA8A6D4-9DB3-8C59-A4F7-99A238997F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4665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1C532-D2B4-128A-B1ED-DAFBE30FE4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ADE1E3BC-BFCE-F36F-C4B0-26EF800C1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3925" cy="779462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0D6BC709-81F1-5E2D-F206-66D860684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25</a:t>
            </a:fld>
            <a:endParaRPr lang="en-IN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F774C36B-B01D-2F58-937B-1B2469FA94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7DC3403B-3C33-8624-B7A8-2164B93A73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0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b="1" dirty="0"/>
              <a:t>S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E0E62F9B-EB33-7B8C-D86F-46DC527216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0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b="1" dirty="0"/>
              <a:t>W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262E63F0-414E-4C44-E860-86862134A9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0">
                <a:solidFill>
                  <a:srgbClr val="00B050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b="1" dirty="0"/>
              <a:t>O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57C9AB9F-94B9-E74A-1AE5-A19C9500A90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0">
                <a:solidFill>
                  <a:srgbClr val="C00000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b="1" dirty="0"/>
              <a:t>T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913E75FB-9B62-A71B-0CCF-5EB79A1EE47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0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b="1" dirty="0"/>
              <a:t>STRENGHT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65FA5DC9-800F-0C66-4318-31DE6BD567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0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b="1" dirty="0"/>
              <a:t>WEAKNESS</a:t>
            </a:r>
          </a:p>
        </p:txBody>
      </p:sp>
      <p:sp>
        <p:nvSpPr>
          <p:cNvPr id="39" name="Text Placeholder 8">
            <a:extLst>
              <a:ext uri="{FF2B5EF4-FFF2-40B4-BE49-F238E27FC236}">
                <a16:creationId xmlns:a16="http://schemas.microsoft.com/office/drawing/2014/main" id="{CD21678A-9FE6-DF45-882C-B3899155036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0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b="1" dirty="0"/>
              <a:t>OPPORTUNITIES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CF95B972-8675-6A5C-0562-77344EF1ADE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0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b="1" dirty="0"/>
              <a:t>THREAT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4B2881BF-CF5A-7D2A-9C52-20C7263174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br>
              <a:rPr lang="en-US" dirty="0"/>
            </a:br>
            <a:r>
              <a:rPr lang="en-US" dirty="0" err="1"/>
              <a:t>commodo</a:t>
            </a:r>
            <a:r>
              <a:rPr lang="en-US" dirty="0"/>
              <a:t> magna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146F78F7-495A-F205-BF6F-AE11F76B4CF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br>
              <a:rPr lang="en-US" dirty="0"/>
            </a:br>
            <a:r>
              <a:rPr lang="en-US" dirty="0" err="1"/>
              <a:t>commodo</a:t>
            </a:r>
            <a:r>
              <a:rPr lang="en-US" dirty="0"/>
              <a:t> magna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DE6F1DFA-29F7-6907-AA67-D3E5A5EABBE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br>
              <a:rPr lang="en-US" dirty="0"/>
            </a:br>
            <a:r>
              <a:rPr lang="en-US" dirty="0" err="1"/>
              <a:t>commodo</a:t>
            </a:r>
            <a:r>
              <a:rPr lang="en-US" dirty="0"/>
              <a:t> magna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6B81F6D4-11AA-3D37-1B60-847EF8A7EDA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br>
              <a:rPr lang="en-US" dirty="0"/>
            </a:br>
            <a:r>
              <a:rPr lang="en-US" dirty="0" err="1"/>
              <a:t>commodo</a:t>
            </a:r>
            <a:r>
              <a:rPr lang="en-US" dirty="0"/>
              <a:t> magna</a:t>
            </a:r>
          </a:p>
        </p:txBody>
      </p:sp>
    </p:spTree>
    <p:extLst>
      <p:ext uri="{BB962C8B-B14F-4D97-AF65-F5344CB8AC3E}">
        <p14:creationId xmlns:p14="http://schemas.microsoft.com/office/powerpoint/2010/main" val="31114857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C4C2C0-D1CE-C323-94A8-EC36FE05BB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72FAF64-FDD9-250C-C2FD-B3A925A14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35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A8A6D4-9DB3-8C59-A4F7-99A238997F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Title 1">
            <a:extLst>
              <a:ext uri="{FF2B5EF4-FFF2-40B4-BE49-F238E27FC236}">
                <a16:creationId xmlns:a16="http://schemas.microsoft.com/office/drawing/2014/main" id="{ED0C90F2-2AF6-82EC-CD98-7FC669C1B5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3925" cy="779462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946292F5-7BAB-89CF-7F7A-06EF473FC8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B992455A-FFB5-22B5-532F-E792A912E2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-title text styles</a:t>
            </a: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F829DD8D-DF7F-F9D3-47CB-7018196847E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8" name="Picture Placeholder 177">
            <a:extLst>
              <a:ext uri="{FF2B5EF4-FFF2-40B4-BE49-F238E27FC236}">
                <a16:creationId xmlns:a16="http://schemas.microsoft.com/office/drawing/2014/main" id="{12335D82-B6CA-BC5D-FD8D-A7BCA4A858D3}"/>
              </a:ext>
            </a:extLst>
          </p:cNvPr>
          <p:cNvPicPr>
            <a:picLocks noGrp="1" noChangeAspect="1"/>
          </p:cNvPicPr>
          <p:nvPr>
            <p:ph type="pic" sz="quarter" idx="34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>
            <a:fillRect/>
          </a:stretch>
        </p:blipFill>
        <p:spPr/>
      </p:pic>
      <p:pic>
        <p:nvPicPr>
          <p:cNvPr id="180" name="Picture Placeholder 179">
            <a:extLst>
              <a:ext uri="{FF2B5EF4-FFF2-40B4-BE49-F238E27FC236}">
                <a16:creationId xmlns:a16="http://schemas.microsoft.com/office/drawing/2014/main" id="{EF284AA5-87A5-38E1-CAB8-CF8100E7DC32}"/>
              </a:ext>
            </a:extLst>
          </p:cNvPr>
          <p:cNvPicPr>
            <a:picLocks noGrp="1" noChangeAspect="1"/>
          </p:cNvPicPr>
          <p:nvPr>
            <p:ph type="pic" sz="quarter" idx="35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>
            <a:fillRect/>
          </a:stretch>
        </p:blipFill>
        <p:spPr/>
      </p:pic>
      <p:pic>
        <p:nvPicPr>
          <p:cNvPr id="182" name="Picture Placeholder 181">
            <a:extLst>
              <a:ext uri="{FF2B5EF4-FFF2-40B4-BE49-F238E27FC236}">
                <a16:creationId xmlns:a16="http://schemas.microsoft.com/office/drawing/2014/main" id="{1391932B-104D-9C26-DE08-619C199811EE}"/>
              </a:ext>
            </a:extLst>
          </p:cNvPr>
          <p:cNvPicPr>
            <a:picLocks noGrp="1" noChangeAspect="1"/>
          </p:cNvPicPr>
          <p:nvPr>
            <p:ph type="pic" sz="quarter" idx="36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>
            <a:fillRect/>
          </a:stretch>
        </p:blipFill>
        <p:spPr/>
      </p:pic>
      <p:pic>
        <p:nvPicPr>
          <p:cNvPr id="184" name="Picture Placeholder 183">
            <a:extLst>
              <a:ext uri="{FF2B5EF4-FFF2-40B4-BE49-F238E27FC236}">
                <a16:creationId xmlns:a16="http://schemas.microsoft.com/office/drawing/2014/main" id="{C2C7CE0C-3E11-3239-CB68-671BA57FD0E5}"/>
              </a:ext>
            </a:extLst>
          </p:cNvPr>
          <p:cNvPicPr>
            <a:picLocks noGrp="1" noChangeAspect="1"/>
          </p:cNvPicPr>
          <p:nvPr>
            <p:ph type="pic" sz="quarter" idx="37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>
            <a:fillRect/>
          </a:stretch>
        </p:blipFill>
        <p:spPr/>
      </p:pic>
      <p:pic>
        <p:nvPicPr>
          <p:cNvPr id="186" name="Picture Placeholder 185">
            <a:extLst>
              <a:ext uri="{FF2B5EF4-FFF2-40B4-BE49-F238E27FC236}">
                <a16:creationId xmlns:a16="http://schemas.microsoft.com/office/drawing/2014/main" id="{6D684128-F688-A7E7-AAE3-9992340D6AED}"/>
              </a:ext>
            </a:extLst>
          </p:cNvPr>
          <p:cNvPicPr>
            <a:picLocks noGrp="1" noChangeAspect="1"/>
          </p:cNvPicPr>
          <p:nvPr>
            <p:ph type="pic" sz="quarter" idx="38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>
            <a:fillRect/>
          </a:stretch>
        </p:blipFill>
        <p:spPr/>
      </p:pic>
      <p:sp>
        <p:nvSpPr>
          <p:cNvPr id="83" name="Text Placeholder 8">
            <a:extLst>
              <a:ext uri="{FF2B5EF4-FFF2-40B4-BE49-F238E27FC236}">
                <a16:creationId xmlns:a16="http://schemas.microsoft.com/office/drawing/2014/main" id="{92E59088-9C6F-1944-1E1C-F79C60FB95B0}"/>
              </a:ext>
            </a:extLst>
          </p:cNvPr>
          <p:cNvSpPr txBox="1">
            <a:spLocks/>
          </p:cNvSpPr>
          <p:nvPr/>
        </p:nvSpPr>
        <p:spPr>
          <a:xfrm>
            <a:off x="2095189" y="3563365"/>
            <a:ext cx="949267" cy="77032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28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orter</a:t>
            </a:r>
            <a:br>
              <a:rPr lang="en-US" dirty="0"/>
            </a:br>
            <a:r>
              <a:rPr lang="en-US" dirty="0"/>
              <a:t>Five Process</a:t>
            </a:r>
          </a:p>
        </p:txBody>
      </p:sp>
      <p:sp>
        <p:nvSpPr>
          <p:cNvPr id="162" name="Text Placeholder 8">
            <a:extLst>
              <a:ext uri="{FF2B5EF4-FFF2-40B4-BE49-F238E27FC236}">
                <a16:creationId xmlns:a16="http://schemas.microsoft.com/office/drawing/2014/main" id="{11D1508B-60AC-7386-15AF-D0B0E20E50C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61489" y="1720091"/>
            <a:ext cx="1849851" cy="770324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163" name="Text Placeholder 21">
            <a:extLst>
              <a:ext uri="{FF2B5EF4-FFF2-40B4-BE49-F238E27FC236}">
                <a16:creationId xmlns:a16="http://schemas.microsoft.com/office/drawing/2014/main" id="{EBE197A3-D594-AE6D-8EC7-29559E4A81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4" name="Text Placeholder 8">
            <a:extLst>
              <a:ext uri="{FF2B5EF4-FFF2-40B4-BE49-F238E27FC236}">
                <a16:creationId xmlns:a16="http://schemas.microsoft.com/office/drawing/2014/main" id="{D759C586-482A-31ED-93AB-15F8D247D1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61489" y="2641728"/>
            <a:ext cx="1849851" cy="770324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165" name="Text Placeholder 21">
            <a:extLst>
              <a:ext uri="{FF2B5EF4-FFF2-40B4-BE49-F238E27FC236}">
                <a16:creationId xmlns:a16="http://schemas.microsoft.com/office/drawing/2014/main" id="{921A760D-211F-DB85-0A00-36A504C02E1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6" name="Text Placeholder 8">
            <a:extLst>
              <a:ext uri="{FF2B5EF4-FFF2-40B4-BE49-F238E27FC236}">
                <a16:creationId xmlns:a16="http://schemas.microsoft.com/office/drawing/2014/main" id="{1C34DE01-3EF7-B321-82E9-AEECFB4EA1F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61489" y="3563365"/>
            <a:ext cx="1849851" cy="770324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167" name="Text Placeholder 21">
            <a:extLst>
              <a:ext uri="{FF2B5EF4-FFF2-40B4-BE49-F238E27FC236}">
                <a16:creationId xmlns:a16="http://schemas.microsoft.com/office/drawing/2014/main" id="{3D37725A-EDE2-28BA-F34C-E9778C93414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8" name="Text Placeholder 8">
            <a:extLst>
              <a:ext uri="{FF2B5EF4-FFF2-40B4-BE49-F238E27FC236}">
                <a16:creationId xmlns:a16="http://schemas.microsoft.com/office/drawing/2014/main" id="{B49A97C6-AFA7-6D6F-B87C-5983668DB68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061489" y="4485002"/>
            <a:ext cx="1849851" cy="770324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169" name="Text Placeholder 21">
            <a:extLst>
              <a:ext uri="{FF2B5EF4-FFF2-40B4-BE49-F238E27FC236}">
                <a16:creationId xmlns:a16="http://schemas.microsoft.com/office/drawing/2014/main" id="{0F7CB863-73BC-58DA-7AE3-BF54A108BC4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0" name="Text Placeholder 8">
            <a:extLst>
              <a:ext uri="{FF2B5EF4-FFF2-40B4-BE49-F238E27FC236}">
                <a16:creationId xmlns:a16="http://schemas.microsoft.com/office/drawing/2014/main" id="{CE189039-1892-8814-FFAA-4D26A89097B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1489" y="5406639"/>
            <a:ext cx="1849851" cy="770324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65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171" name="Text Placeholder 21">
            <a:extLst>
              <a:ext uri="{FF2B5EF4-FFF2-40B4-BE49-F238E27FC236}">
                <a16:creationId xmlns:a16="http://schemas.microsoft.com/office/drawing/2014/main" id="{846799B4-C492-B8F6-7926-E64D6DCCABB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5FFA99FB-2291-0765-9302-2B59B2BB6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900"/>
            <a:ext cx="284163" cy="139700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2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689055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BE41C-8415-4821-37EA-F712E7CB27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F4E94F2-4799-0988-8D1C-81F4B6B12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2286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2FAF64-FDD9-250C-C2FD-B3A925A14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Title 1">
            <a:extLst>
              <a:ext uri="{FF2B5EF4-FFF2-40B4-BE49-F238E27FC236}">
                <a16:creationId xmlns:a16="http://schemas.microsoft.com/office/drawing/2014/main" id="{06F40F2D-59C7-EC34-659A-2F5671679D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3925" cy="779462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76" name="Slide Number Placeholder 75">
            <a:extLst>
              <a:ext uri="{FF2B5EF4-FFF2-40B4-BE49-F238E27FC236}">
                <a16:creationId xmlns:a16="http://schemas.microsoft.com/office/drawing/2014/main" id="{B69A3D0E-51C8-6524-C412-DC5A8CC37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/>
          <a:p>
            <a:fld id="{125C4C3F-9F9F-4F6E-939C-2122BC1A1DB0}" type="slidenum">
              <a:rPr lang="en-IN" smtClean="0"/>
              <a:pPr/>
              <a:t>27</a:t>
            </a:fld>
            <a:endParaRPr lang="en-IN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E679FC8D-0A05-C9B8-AA6F-7E4D6CE1FE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46AE0176-0BF4-B9F9-A361-73BC43E532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51837" y="1304925"/>
            <a:ext cx="3286125" cy="363538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6" name="Text Placeholder 21">
            <a:extLst>
              <a:ext uri="{FF2B5EF4-FFF2-40B4-BE49-F238E27FC236}">
                <a16:creationId xmlns:a16="http://schemas.microsoft.com/office/drawing/2014/main" id="{D3DE8B9B-4782-C783-8602-5EF419E194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</a:p>
        </p:txBody>
      </p:sp>
      <p:sp>
        <p:nvSpPr>
          <p:cNvPr id="67" name="Text Placeholder 8">
            <a:extLst>
              <a:ext uri="{FF2B5EF4-FFF2-40B4-BE49-F238E27FC236}">
                <a16:creationId xmlns:a16="http://schemas.microsoft.com/office/drawing/2014/main" id="{2A45F378-6C21-1986-4989-2AF38FE3B06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51837" y="3917950"/>
            <a:ext cx="3286125" cy="365125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A3D099C9-3B58-373B-0849-4B024337639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</a:p>
        </p:txBody>
      </p:sp>
      <p:sp>
        <p:nvSpPr>
          <p:cNvPr id="69" name="Text Placeholder 8">
            <a:extLst>
              <a:ext uri="{FF2B5EF4-FFF2-40B4-BE49-F238E27FC236}">
                <a16:creationId xmlns:a16="http://schemas.microsoft.com/office/drawing/2014/main" id="{6BED71FA-EFDA-B0D5-13ED-2D30DB9923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835473A2-BDB7-464A-0491-91E7F6A17BB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C9A97833-5218-758B-4F26-11878DEA470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54037" y="3917950"/>
            <a:ext cx="3286125" cy="365125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E60A9EB1-DD1B-A236-9F30-CA065D233E2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</a:p>
        </p:txBody>
      </p:sp>
      <p:pic>
        <p:nvPicPr>
          <p:cNvPr id="78" name="Shape1_20250711_042939">
            <a:extLst>
              <a:ext uri="{FF2B5EF4-FFF2-40B4-BE49-F238E27FC236}">
                <a16:creationId xmlns:a16="http://schemas.microsoft.com/office/drawing/2014/main" id="{1E603F2F-90E4-DCE5-E01A-BCCCC8CC80F9}"/>
              </a:ext>
            </a:extLst>
          </p:cNvPr>
          <p:cNvPicPr>
            <a:picLocks noGrp="1" noChangeAspect="1"/>
          </p:cNvPicPr>
          <p:nvPr>
            <p:ph type="pic" sz="quarter" idx="34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/>
        </p:blipFill>
        <p:spPr>
          <a:xfrm>
            <a:off x="7015954" y="2471531"/>
            <a:ext cx="565150" cy="566738"/>
          </a:xfrm>
        </p:spPr>
      </p:pic>
      <p:pic>
        <p:nvPicPr>
          <p:cNvPr id="80" name="Shape2_20250711_042939">
            <a:extLst>
              <a:ext uri="{FF2B5EF4-FFF2-40B4-BE49-F238E27FC236}">
                <a16:creationId xmlns:a16="http://schemas.microsoft.com/office/drawing/2014/main" id="{04E6AA01-4D09-F08D-7899-0D7F9130F1FA}"/>
              </a:ext>
            </a:extLst>
          </p:cNvPr>
          <p:cNvPicPr>
            <a:picLocks noGrp="1" noChangeAspect="1"/>
          </p:cNvPicPr>
          <p:nvPr>
            <p:ph type="pic" sz="quarter" idx="35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/>
        </p:blipFill>
        <p:spPr>
          <a:xfrm>
            <a:off x="6771330" y="4475047"/>
            <a:ext cx="565150" cy="566738"/>
          </a:xfrm>
        </p:spPr>
      </p:pic>
      <p:pic>
        <p:nvPicPr>
          <p:cNvPr id="82" name="Shape3_20250711_042939">
            <a:extLst>
              <a:ext uri="{FF2B5EF4-FFF2-40B4-BE49-F238E27FC236}">
                <a16:creationId xmlns:a16="http://schemas.microsoft.com/office/drawing/2014/main" id="{B1BC9087-D251-4915-CDE6-7F00811C08A7}"/>
              </a:ext>
            </a:extLst>
          </p:cNvPr>
          <p:cNvPicPr>
            <a:picLocks noGrp="1" noChangeAspect="1"/>
          </p:cNvPicPr>
          <p:nvPr>
            <p:ph type="pic" sz="quarter" idx="36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/>
        </p:blipFill>
        <p:spPr>
          <a:xfrm>
            <a:off x="4606264" y="4206658"/>
            <a:ext cx="565150" cy="566738"/>
          </a:xfrm>
        </p:spPr>
      </p:pic>
      <p:pic>
        <p:nvPicPr>
          <p:cNvPr id="85" name="Shape0_20250711_042939">
            <a:extLst>
              <a:ext uri="{FF2B5EF4-FFF2-40B4-BE49-F238E27FC236}">
                <a16:creationId xmlns:a16="http://schemas.microsoft.com/office/drawing/2014/main" id="{14E0CF8E-2F95-3395-7E85-7CF8D7157A64}"/>
              </a:ext>
            </a:extLst>
          </p:cNvPr>
          <p:cNvPicPr>
            <a:picLocks noGrp="1" noChangeAspect="1"/>
          </p:cNvPicPr>
          <p:nvPr>
            <p:ph type="pic" sz="quarter" idx="37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/>
        </p:blipFill>
        <p:spPr>
          <a:xfrm>
            <a:off x="4888839" y="2145548"/>
            <a:ext cx="565150" cy="566738"/>
          </a:xfrm>
        </p:spPr>
      </p:pic>
      <p:sp>
        <p:nvSpPr>
          <p:cNvPr id="87" name="Text Placeholder 21">
            <a:extLst>
              <a:ext uri="{FF2B5EF4-FFF2-40B4-BE49-F238E27FC236}">
                <a16:creationId xmlns:a16="http://schemas.microsoft.com/office/drawing/2014/main" id="{D827F50D-F1ED-E102-45F6-9E458496437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16330885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E05B45-5CD9-B690-EA47-65BBF93F0A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4361B98-5FB5-862F-51A4-629791CC49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9560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4E94F2-4799-0988-8D1C-81F4B6B12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8" name="Picture Placeholder 97">
            <a:extLst>
              <a:ext uri="{FF2B5EF4-FFF2-40B4-BE49-F238E27FC236}">
                <a16:creationId xmlns:a16="http://schemas.microsoft.com/office/drawing/2014/main" id="{1EC6719C-87D0-0590-725D-970B8F4D5B35}"/>
              </a:ext>
            </a:extLst>
          </p:cNvPr>
          <p:cNvPicPr>
            <a:picLocks noGrp="1" noChangeAspect="1"/>
          </p:cNvPicPr>
          <p:nvPr>
            <p:ph type="pic" sz="quarter" idx="37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>
            <a:fillRect/>
          </a:stretch>
        </p:blipFill>
        <p:spPr/>
      </p:pic>
      <p:pic>
        <p:nvPicPr>
          <p:cNvPr id="100" name="Picture Placeholder 99">
            <a:extLst>
              <a:ext uri="{FF2B5EF4-FFF2-40B4-BE49-F238E27FC236}">
                <a16:creationId xmlns:a16="http://schemas.microsoft.com/office/drawing/2014/main" id="{C2D0FC7B-5426-2A00-07CC-97CA003E07A0}"/>
              </a:ext>
            </a:extLst>
          </p:cNvPr>
          <p:cNvPicPr>
            <a:picLocks noGrp="1" noChangeAspect="1"/>
          </p:cNvPicPr>
          <p:nvPr>
            <p:ph type="pic" sz="quarter" idx="38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>
            <a:fillRect/>
          </a:stretch>
        </p:blipFill>
        <p:spPr/>
      </p:pic>
      <p:pic>
        <p:nvPicPr>
          <p:cNvPr id="102" name="Picture Placeholder 101">
            <a:extLst>
              <a:ext uri="{FF2B5EF4-FFF2-40B4-BE49-F238E27FC236}">
                <a16:creationId xmlns:a16="http://schemas.microsoft.com/office/drawing/2014/main" id="{863C6EDF-EEAB-A4B4-42ED-CA5C2BF2DA03}"/>
              </a:ext>
            </a:extLst>
          </p:cNvPr>
          <p:cNvPicPr>
            <a:picLocks noGrp="1" noChangeAspect="1"/>
          </p:cNvPicPr>
          <p:nvPr>
            <p:ph type="pic" sz="quarter" idx="39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>
            <a:fillRect/>
          </a:stretch>
        </p:blipFill>
        <p:spPr/>
      </p:pic>
      <p:pic>
        <p:nvPicPr>
          <p:cNvPr id="104" name="Picture Placeholder 103">
            <a:extLst>
              <a:ext uri="{FF2B5EF4-FFF2-40B4-BE49-F238E27FC236}">
                <a16:creationId xmlns:a16="http://schemas.microsoft.com/office/drawing/2014/main" id="{0FFF2CA5-3592-DA3F-E201-5EA1F8E99439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>
            <a:fillRect/>
          </a:stretch>
        </p:blipFill>
        <p:spPr/>
      </p:pic>
      <p:sp>
        <p:nvSpPr>
          <p:cNvPr id="72" name="Title 1">
            <a:extLst>
              <a:ext uri="{FF2B5EF4-FFF2-40B4-BE49-F238E27FC236}">
                <a16:creationId xmlns:a16="http://schemas.microsoft.com/office/drawing/2014/main" id="{C38A0516-65BA-54C4-588F-654245EAC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88E8A222-3219-75FB-A786-E8F8EF97D7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9" name="Text Placeholder 8">
            <a:extLst>
              <a:ext uri="{FF2B5EF4-FFF2-40B4-BE49-F238E27FC236}">
                <a16:creationId xmlns:a16="http://schemas.microsoft.com/office/drawing/2014/main" id="{37D5FBCA-B085-4137-6580-665C66F7278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461A6F53-8F3E-66B4-E6E3-81A6AE4BCE7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83" name="Text Placeholder 8">
            <a:extLst>
              <a:ext uri="{FF2B5EF4-FFF2-40B4-BE49-F238E27FC236}">
                <a16:creationId xmlns:a16="http://schemas.microsoft.com/office/drawing/2014/main" id="{BECDD66C-60AD-7689-174C-5D97DDC711D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84" name="Text Placeholder 21">
            <a:extLst>
              <a:ext uri="{FF2B5EF4-FFF2-40B4-BE49-F238E27FC236}">
                <a16:creationId xmlns:a16="http://schemas.microsoft.com/office/drawing/2014/main" id="{ACBFA1F3-0ADA-9744-1B5C-FA388FD2EA0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86" name="Text Placeholder 8">
            <a:extLst>
              <a:ext uri="{FF2B5EF4-FFF2-40B4-BE49-F238E27FC236}">
                <a16:creationId xmlns:a16="http://schemas.microsoft.com/office/drawing/2014/main" id="{ED837A45-F395-ECCF-6AB5-08AD45AB79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88" name="Text Placeholder 21">
            <a:extLst>
              <a:ext uri="{FF2B5EF4-FFF2-40B4-BE49-F238E27FC236}">
                <a16:creationId xmlns:a16="http://schemas.microsoft.com/office/drawing/2014/main" id="{307DC196-DA86-6EA8-0D22-23AB19A8AF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89" name="Text Placeholder 8">
            <a:extLst>
              <a:ext uri="{FF2B5EF4-FFF2-40B4-BE49-F238E27FC236}">
                <a16:creationId xmlns:a16="http://schemas.microsoft.com/office/drawing/2014/main" id="{0D1535E5-C816-0F76-7FD2-28E54E20C4E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90" name="Text Placeholder 21">
            <a:extLst>
              <a:ext uri="{FF2B5EF4-FFF2-40B4-BE49-F238E27FC236}">
                <a16:creationId xmlns:a16="http://schemas.microsoft.com/office/drawing/2014/main" id="{8B01F732-0151-0F89-5920-D6B470DB4E1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92" name="Text Placeholder 21">
            <a:extLst>
              <a:ext uri="{FF2B5EF4-FFF2-40B4-BE49-F238E27FC236}">
                <a16:creationId xmlns:a16="http://schemas.microsoft.com/office/drawing/2014/main" id="{B33E2F09-FD79-AE0A-F8DD-FEA93B6DD48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</a:p>
        </p:txBody>
      </p:sp>
      <p:sp>
        <p:nvSpPr>
          <p:cNvPr id="93" name="Text Placeholder 8">
            <a:extLst>
              <a:ext uri="{FF2B5EF4-FFF2-40B4-BE49-F238E27FC236}">
                <a16:creationId xmlns:a16="http://schemas.microsoft.com/office/drawing/2014/main" id="{B3E17366-578C-19BD-D383-4C8279D257A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8ABD945E-D775-BD02-277B-8681F0CF9AC3}"/>
              </a:ext>
            </a:extLst>
          </p:cNvPr>
          <p:cNvSpPr txBox="1"/>
          <p:nvPr/>
        </p:nvSpPr>
        <p:spPr>
          <a:xfrm>
            <a:off x="9282002" y="0"/>
            <a:ext cx="1752600" cy="658368"/>
          </a:xfrm>
          <a:prstGeom prst="rect">
            <a:avLst/>
          </a:prstGeom>
          <a:solidFill>
            <a:srgbClr val="FFFF00"/>
          </a:solidFill>
        </p:spPr>
        <p:txBody>
          <a:bodyPr vert="horz" lIns="0" tIns="0" rIns="0" bIns="0" rtlCol="0" anchor="ctr" anchorCtr="1">
            <a:no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  <a:latin typeface="arial" panose="020B0604020202020204" pitchFamily="34" charset="0"/>
              </a:rPr>
              <a:t>OPTIONAL SLIDE</a:t>
            </a:r>
          </a:p>
        </p:txBody>
      </p:sp>
    </p:spTree>
    <p:extLst>
      <p:ext uri="{BB962C8B-B14F-4D97-AF65-F5344CB8AC3E}">
        <p14:creationId xmlns:p14="http://schemas.microsoft.com/office/powerpoint/2010/main" val="36652007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0AD587-4F05-26A5-21A7-3BEA3C3C5B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D248294-A94C-20D6-CE0C-4AEAB9477A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4747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4E94F2-4799-0988-8D1C-81F4B6B12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ext Placeholder 35">
            <a:extLst>
              <a:ext uri="{FF2B5EF4-FFF2-40B4-BE49-F238E27FC236}">
                <a16:creationId xmlns:a16="http://schemas.microsoft.com/office/drawing/2014/main" id="{47D75CF8-8C91-7C26-E2F5-B147279BF3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EA66F386-1681-56E4-67EE-2E3A3C5291F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064CB9BF-ADB4-ED95-91DB-9B0C68B1142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e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  <a:p>
            <a:pPr lvl="0"/>
            <a:r>
              <a:rPr lang="en-US" sz="1400" dirty="0"/>
              <a:t>Maecenas </a:t>
            </a:r>
            <a:r>
              <a:rPr lang="en-US" sz="1400" dirty="0" err="1"/>
              <a:t>porttitor</a:t>
            </a:r>
            <a:r>
              <a:rPr lang="en-US" sz="1400" dirty="0"/>
              <a:t> </a:t>
            </a:r>
            <a:r>
              <a:rPr lang="en-US" sz="1400" dirty="0" err="1"/>
              <a:t>congue</a:t>
            </a:r>
            <a:r>
              <a:rPr lang="en-US" sz="1400" dirty="0"/>
              <a:t> </a:t>
            </a:r>
            <a:r>
              <a:rPr lang="en-US" sz="1400" dirty="0" err="1"/>
              <a:t>massa</a:t>
            </a:r>
            <a:r>
              <a:rPr lang="en-US" sz="1400" dirty="0"/>
              <a:t>. </a:t>
            </a:r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164FD3CE-5969-59F0-098D-12B322ADF8A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5FFAC92E-C754-4648-B9FB-E1454F3BCB9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e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  <a:p>
            <a:pPr lvl="0"/>
            <a:r>
              <a:rPr lang="en-US" sz="1400" dirty="0"/>
              <a:t>Maecenas </a:t>
            </a:r>
            <a:r>
              <a:rPr lang="en-US" sz="1400" dirty="0" err="1"/>
              <a:t>porttitor</a:t>
            </a:r>
            <a:r>
              <a:rPr lang="en-US" sz="1400" dirty="0"/>
              <a:t> </a:t>
            </a:r>
            <a:r>
              <a:rPr lang="en-US" sz="1400" dirty="0" err="1"/>
              <a:t>congue</a:t>
            </a:r>
            <a:r>
              <a:rPr lang="en-US" sz="1400" dirty="0"/>
              <a:t> </a:t>
            </a:r>
            <a:r>
              <a:rPr lang="en-US" sz="1400" dirty="0" err="1"/>
              <a:t>massa</a:t>
            </a:r>
            <a:r>
              <a:rPr lang="en-US" sz="1400" dirty="0"/>
              <a:t>. </a:t>
            </a:r>
          </a:p>
        </p:txBody>
      </p:sp>
      <p:sp>
        <p:nvSpPr>
          <p:cNvPr id="45" name="Text Placeholder 8">
            <a:extLst>
              <a:ext uri="{FF2B5EF4-FFF2-40B4-BE49-F238E27FC236}">
                <a16:creationId xmlns:a16="http://schemas.microsoft.com/office/drawing/2014/main" id="{D24311C3-69A4-8749-5594-7B179BF1BBE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E1DAD8E3-EE64-8C15-B142-C0DEF47012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e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  <a:p>
            <a:pPr lvl="0"/>
            <a:r>
              <a:rPr lang="en-US" sz="1400" dirty="0"/>
              <a:t>Maecenas </a:t>
            </a:r>
            <a:r>
              <a:rPr lang="en-US" sz="1400" dirty="0" err="1"/>
              <a:t>porttitor</a:t>
            </a:r>
            <a:r>
              <a:rPr lang="en-US" sz="1400" dirty="0"/>
              <a:t> </a:t>
            </a:r>
            <a:r>
              <a:rPr lang="en-US" sz="1400" dirty="0" err="1"/>
              <a:t>congue</a:t>
            </a:r>
            <a:r>
              <a:rPr lang="en-US" sz="1400" dirty="0"/>
              <a:t> </a:t>
            </a:r>
            <a:r>
              <a:rPr lang="en-US" sz="1400" dirty="0" err="1"/>
              <a:t>massa</a:t>
            </a:r>
            <a:r>
              <a:rPr lang="en-US" sz="1400" dirty="0"/>
              <a:t>. 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746CFCE1-E3DE-CE5B-72E3-F49E9E750A2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8" name="Text Placeholder 21">
            <a:extLst>
              <a:ext uri="{FF2B5EF4-FFF2-40B4-BE49-F238E27FC236}">
                <a16:creationId xmlns:a16="http://schemas.microsoft.com/office/drawing/2014/main" id="{550F44F9-EA88-44B1-7982-590E59908F2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e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  <a:p>
            <a:pPr lvl="0"/>
            <a:r>
              <a:rPr lang="en-US" sz="1400" dirty="0"/>
              <a:t>Maecenas </a:t>
            </a:r>
            <a:r>
              <a:rPr lang="en-US" sz="1400" dirty="0" err="1"/>
              <a:t>porttitor</a:t>
            </a:r>
            <a:r>
              <a:rPr lang="en-US" sz="1400" dirty="0"/>
              <a:t> </a:t>
            </a:r>
            <a:r>
              <a:rPr lang="en-US" sz="1400" dirty="0" err="1"/>
              <a:t>congue</a:t>
            </a:r>
            <a:r>
              <a:rPr lang="en-US" sz="1400" dirty="0"/>
              <a:t> </a:t>
            </a:r>
            <a:r>
              <a:rPr lang="en-US" sz="1400" dirty="0" err="1"/>
              <a:t>massa</a:t>
            </a:r>
            <a:r>
              <a:rPr lang="en-US" sz="1400" dirty="0"/>
              <a:t>. </a:t>
            </a:r>
          </a:p>
        </p:txBody>
      </p:sp>
      <p:sp>
        <p:nvSpPr>
          <p:cNvPr id="49" name="Text Placeholder 8">
            <a:extLst>
              <a:ext uri="{FF2B5EF4-FFF2-40B4-BE49-F238E27FC236}">
                <a16:creationId xmlns:a16="http://schemas.microsoft.com/office/drawing/2014/main" id="{1B4D78CC-E30D-7C34-A990-6A36B44C0F8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AA8366A1-7B99-D3D8-B845-23FED6F3184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e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  <a:p>
            <a:pPr lvl="0"/>
            <a:r>
              <a:rPr lang="en-US" sz="1400" dirty="0"/>
              <a:t>Maecenas </a:t>
            </a:r>
            <a:r>
              <a:rPr lang="en-US" sz="1400" dirty="0" err="1"/>
              <a:t>porttitor</a:t>
            </a:r>
            <a:r>
              <a:rPr lang="en-US" sz="1400" dirty="0"/>
              <a:t> </a:t>
            </a:r>
            <a:r>
              <a:rPr lang="en-US" sz="1400" dirty="0" err="1"/>
              <a:t>congue</a:t>
            </a:r>
            <a:r>
              <a:rPr lang="en-US" sz="1400" dirty="0"/>
              <a:t> </a:t>
            </a:r>
            <a:r>
              <a:rPr lang="en-US" sz="1400" dirty="0" err="1"/>
              <a:t>massa</a:t>
            </a:r>
            <a:r>
              <a:rPr lang="en-US" sz="1400" dirty="0"/>
              <a:t>. 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7DBF7B0E-5A04-4E2C-9FE1-16E42998E4D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2022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806452B3-FF77-AD8C-8233-56E6212E5BC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2024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3FC90700-1BF2-EF1D-2884-18BBACF24AA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2026</a:t>
            </a:r>
          </a:p>
        </p:txBody>
      </p:sp>
      <p:sp>
        <p:nvSpPr>
          <p:cNvPr id="54" name="Text Placeholder 8">
            <a:extLst>
              <a:ext uri="{FF2B5EF4-FFF2-40B4-BE49-F238E27FC236}">
                <a16:creationId xmlns:a16="http://schemas.microsoft.com/office/drawing/2014/main" id="{80AD37AC-0C32-3FD3-A934-E37C1800B38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2023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7FB3B329-7541-CF49-5259-2272C642121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2025</a:t>
            </a:r>
          </a:p>
        </p:txBody>
      </p:sp>
      <p:sp>
        <p:nvSpPr>
          <p:cNvPr id="56" name="Slide Number Placeholder 55">
            <a:extLst>
              <a:ext uri="{FF2B5EF4-FFF2-40B4-BE49-F238E27FC236}">
                <a16:creationId xmlns:a16="http://schemas.microsoft.com/office/drawing/2014/main" id="{E10BE6ED-FC77-958C-F9F9-8840933CE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4C3F-9F9F-4F6E-939C-2122BC1A1DB0}" type="slidenum">
              <a:rPr lang="en-IN" smtClean="0"/>
              <a:pPr/>
              <a:t>29</a:t>
            </a:fld>
            <a:endParaRPr lang="en-IN"/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525D84-1BD3-296E-C172-FAEAA42870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3925" cy="779462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98308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0792E-7D40-3FB0-F112-0257638561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20288FA-A4C3-6A12-E396-308CD8AB69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4872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7BC49B-F5C4-8600-8185-CD9F050C03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ED2984-8377-B783-3816-E27969F3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8CBE0700-D77F-A761-3491-B66E2FE127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FE93CA75-FC5D-5EE7-D9FB-6593E05AD75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6C5FE89-BC83-9312-7C56-CBA56873026B}"/>
              </a:ext>
            </a:extLst>
          </p:cNvPr>
          <p:cNvSpPr txBox="1"/>
          <p:nvPr/>
        </p:nvSpPr>
        <p:spPr>
          <a:xfrm>
            <a:off x="9282002" y="0"/>
            <a:ext cx="1752600" cy="658368"/>
          </a:xfrm>
          <a:prstGeom prst="rect">
            <a:avLst/>
          </a:prstGeom>
          <a:solidFill>
            <a:srgbClr val="FFFF00"/>
          </a:solidFill>
        </p:spPr>
        <p:txBody>
          <a:bodyPr vert="horz" lIns="0" tIns="0" rIns="0" bIns="0" rtlCol="0" anchor="ctr" anchorCtr="1">
            <a:no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  <a:latin typeface="arial" panose="020B0604020202020204" pitchFamily="34" charset="0"/>
              </a:rPr>
              <a:t>OPTIONAL SLIDE</a:t>
            </a:r>
          </a:p>
        </p:txBody>
      </p:sp>
    </p:spTree>
    <p:extLst>
      <p:ext uri="{BB962C8B-B14F-4D97-AF65-F5344CB8AC3E}">
        <p14:creationId xmlns:p14="http://schemas.microsoft.com/office/powerpoint/2010/main" val="3796532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503D5D-911E-8268-31BD-4FAFDDF131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359F914-E446-388E-B765-966F0ADC4D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9552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B8E37B-14FD-7DCA-5CC6-07A3D1176B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le 1">
            <a:extLst>
              <a:ext uri="{FF2B5EF4-FFF2-40B4-BE49-F238E27FC236}">
                <a16:creationId xmlns:a16="http://schemas.microsoft.com/office/drawing/2014/main" id="{6B89133C-7017-3BC8-3451-916F44565D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92CE2D4A-AFF7-0E4D-89EA-62DFEAA58B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166D5E76-339A-C417-8093-8639A29ABA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4</a:t>
            </a:fld>
            <a:endParaRPr lang="en-IN"/>
          </a:p>
        </p:txBody>
      </p:sp>
      <p:sp>
        <p:nvSpPr>
          <p:cNvPr id="35" name="Text Placeholder 35">
            <a:extLst>
              <a:ext uri="{FF2B5EF4-FFF2-40B4-BE49-F238E27FC236}">
                <a16:creationId xmlns:a16="http://schemas.microsoft.com/office/drawing/2014/main" id="{6E9FACD5-FA3E-3E90-C5D6-9B39CEE18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25798099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8FFAC6AA-E420-72DE-ED9E-3CB1AD94DE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714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itle 1">
            <a:extLst>
              <a:ext uri="{FF2B5EF4-FFF2-40B4-BE49-F238E27FC236}">
                <a16:creationId xmlns:a16="http://schemas.microsoft.com/office/drawing/2014/main" id="{21F4F7A3-24F3-1811-2B28-B896E8C14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 style</a:t>
            </a:r>
            <a:endParaRPr lang="en-IN" dirty="0"/>
          </a:p>
        </p:txBody>
      </p:sp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4E50BBBE-A2C0-6140-9BAD-19160B93E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5</a:t>
            </a:fld>
            <a:endParaRPr lang="en-IN"/>
          </a:p>
        </p:txBody>
      </p:sp>
      <p:sp>
        <p:nvSpPr>
          <p:cNvPr id="35" name="Text Placeholder 35">
            <a:extLst>
              <a:ext uri="{FF2B5EF4-FFF2-40B4-BE49-F238E27FC236}">
                <a16:creationId xmlns:a16="http://schemas.microsoft.com/office/drawing/2014/main" id="{6B9E1118-94DB-2737-4139-3AC32E2F42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6A566E88-D0B4-F9C4-EB9E-23495D05B5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F2F2109-02E5-9BD1-B21F-F0BA3862FF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3D0B5AF6-FB93-A69D-DCFE-9F33F4CCE8E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5926D0BA-4A91-7F13-2F8A-C1C3E11527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3664BCD2-4AF1-B774-3548-6521EF75C8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925AED64-03B4-1472-29CB-3D3D8CD507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8640500A-6203-692B-8879-FAB133DD807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1B12297B-3934-98E5-B6EF-1D0A5CB1967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DEA9446E-5FF9-C5DB-BAC0-0CD43352EC9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D828AEAF-6E09-0C38-15FA-DD6D144CCE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6" name="Text Placeholder 9">
            <a:extLst>
              <a:ext uri="{FF2B5EF4-FFF2-40B4-BE49-F238E27FC236}">
                <a16:creationId xmlns:a16="http://schemas.microsoft.com/office/drawing/2014/main" id="{F03D2FC2-CED5-BFA5-B4DF-0EE1426F07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AE12C3DB-EC6A-BCA4-BB74-DCD14833396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4088380A-51E0-3F62-0FDB-98CA21BD9C4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04C11463-E3B6-8DC2-CBB7-81C2C219AD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C1206DDE-ED7C-FE42-C28E-18D9512C8FE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AE254EF8-E05A-D79C-5BA3-132EBB2EB7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Text Placeholder 9">
            <a:extLst>
              <a:ext uri="{FF2B5EF4-FFF2-40B4-BE49-F238E27FC236}">
                <a16:creationId xmlns:a16="http://schemas.microsoft.com/office/drawing/2014/main" id="{C1C235BC-B547-12C4-F521-361529110E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BFAAC560-9AC1-2C85-3F67-49DA00CB242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5ABE08BC-0E15-6535-0FC5-95FCCC86824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55" name="Text Placeholder 9">
            <a:extLst>
              <a:ext uri="{FF2B5EF4-FFF2-40B4-BE49-F238E27FC236}">
                <a16:creationId xmlns:a16="http://schemas.microsoft.com/office/drawing/2014/main" id="{6440EED5-AC6E-495C-3740-705F7A6496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F9988B28-920E-6658-EC35-E27FED7E45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A120FDF4-0D08-DD4D-BA77-D7437BDB0C7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58" name="Text Placeholder 9">
            <a:extLst>
              <a:ext uri="{FF2B5EF4-FFF2-40B4-BE49-F238E27FC236}">
                <a16:creationId xmlns:a16="http://schemas.microsoft.com/office/drawing/2014/main" id="{BD9A4460-22F6-10F9-5D8E-F4647B63189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CEAE3A1D-2A07-9030-698C-5E63C94864C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A08BB409-8B76-3EB1-3AC3-0BCC8027FFC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F7B6D855-60A9-4C9E-F3D7-D1E854564D1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50A6DADE-B2C9-1891-4A71-C1F86D1FE16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13905643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2419D49D-8DF2-B1AE-0E4B-53A8980612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6521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57B785-785D-66E9-37F4-3517214CAF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genda </a:t>
            </a:r>
            <a:endParaRPr lang="en-A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AF69A0-2A21-0557-5DBE-ED6667919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4C3F-9F9F-4F6E-939C-2122BC1A1DB0}" type="slidenum">
              <a:rPr lang="en-IN" smtClean="0"/>
              <a:pPr/>
              <a:t>6</a:t>
            </a:fld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EECA93-9E65-1E5F-934C-9123AD1DA3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B9E532-0F96-7709-CD56-A8A43FA0D7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4038" y="1760032"/>
            <a:ext cx="285335" cy="307777"/>
          </a:xfrm>
        </p:spPr>
        <p:txBody>
          <a:bodyPr/>
          <a:lstStyle/>
          <a:p>
            <a:r>
              <a:rPr lang="en-US" dirty="0"/>
              <a:t>0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246FE8-8B30-F7B2-46EC-9C7EDFCDE23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291501" y="1775421"/>
            <a:ext cx="4088219" cy="276999"/>
          </a:xfrm>
        </p:spPr>
        <p:txBody>
          <a:bodyPr/>
          <a:lstStyle/>
          <a:p>
            <a:r>
              <a:rPr lang="en-US" dirty="0"/>
              <a:t>Click to edit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726EA7-A36D-1151-B31F-8027F4C8CE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812282" y="1760032"/>
            <a:ext cx="285335" cy="307777"/>
          </a:xfrm>
        </p:spPr>
        <p:txBody>
          <a:bodyPr/>
          <a:lstStyle/>
          <a:p>
            <a:r>
              <a:rPr lang="en-US" dirty="0"/>
              <a:t>06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BAEED1F-6572-0769-27EF-0CE20724889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49745" y="1775421"/>
            <a:ext cx="4088219" cy="276999"/>
          </a:xfrm>
        </p:spPr>
        <p:txBody>
          <a:bodyPr/>
          <a:lstStyle/>
          <a:p>
            <a:r>
              <a:rPr lang="en-US" dirty="0"/>
              <a:t>Click to edit tex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CBA84FD-F43C-D6A6-2A79-ECA3C750A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54038" y="2697141"/>
            <a:ext cx="285335" cy="307777"/>
          </a:xfrm>
        </p:spPr>
        <p:txBody>
          <a:bodyPr/>
          <a:lstStyle/>
          <a:p>
            <a:r>
              <a:rPr lang="en-US" dirty="0"/>
              <a:t>02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AA64952-B8D0-10BB-526A-51C759F2ECB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291501" y="2712530"/>
            <a:ext cx="4088219" cy="276999"/>
          </a:xfrm>
        </p:spPr>
        <p:txBody>
          <a:bodyPr/>
          <a:lstStyle/>
          <a:p>
            <a:r>
              <a:rPr lang="en-US" dirty="0"/>
              <a:t>Click to edi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7E35827-DBD6-3E4B-9AB0-7C07F04BE3F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812282" y="2697141"/>
            <a:ext cx="285335" cy="307777"/>
          </a:xfrm>
        </p:spPr>
        <p:txBody>
          <a:bodyPr/>
          <a:lstStyle/>
          <a:p>
            <a:r>
              <a:rPr lang="en-US" dirty="0"/>
              <a:t>07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8E5A56A-02A9-92AC-5541-F28FC2021A4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549745" y="2712530"/>
            <a:ext cx="4088219" cy="276999"/>
          </a:xfrm>
        </p:spPr>
        <p:txBody>
          <a:bodyPr/>
          <a:lstStyle/>
          <a:p>
            <a:r>
              <a:rPr lang="en-US" dirty="0"/>
              <a:t>Click to edit tex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59AE1-BA1A-965E-26EE-1EEC3AB26BF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4038" y="3634250"/>
            <a:ext cx="285335" cy="307777"/>
          </a:xfrm>
        </p:spPr>
        <p:txBody>
          <a:bodyPr/>
          <a:lstStyle/>
          <a:p>
            <a:r>
              <a:rPr lang="en-US" dirty="0"/>
              <a:t>03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5D4ED90-7229-F951-7C4D-5926548EE01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291501" y="3649639"/>
            <a:ext cx="4088219" cy="276999"/>
          </a:xfrm>
        </p:spPr>
        <p:txBody>
          <a:bodyPr/>
          <a:lstStyle/>
          <a:p>
            <a:r>
              <a:rPr lang="en-US" dirty="0"/>
              <a:t>Click to edit tex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DA57FD6-B4C3-7EC3-537A-176A9ACBB50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812282" y="3634250"/>
            <a:ext cx="285335" cy="307777"/>
          </a:xfrm>
        </p:spPr>
        <p:txBody>
          <a:bodyPr/>
          <a:lstStyle/>
          <a:p>
            <a:r>
              <a:rPr lang="en-US" dirty="0"/>
              <a:t>08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53D7AA8-8ACE-FB4C-E268-E8232790F72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549745" y="3649639"/>
            <a:ext cx="4088219" cy="276999"/>
          </a:xfrm>
        </p:spPr>
        <p:txBody>
          <a:bodyPr/>
          <a:lstStyle/>
          <a:p>
            <a:r>
              <a:rPr lang="en-US" dirty="0"/>
              <a:t>Click to edit tex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0C05B9AA-CDEA-F88F-3BA3-85C7EC2047C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4038" y="4571359"/>
            <a:ext cx="285335" cy="307777"/>
          </a:xfrm>
        </p:spPr>
        <p:txBody>
          <a:bodyPr/>
          <a:lstStyle/>
          <a:p>
            <a:r>
              <a:rPr lang="en-US" dirty="0"/>
              <a:t>04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24CB2AB-2F8B-E70F-C75D-7E7F00E56D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291501" y="4586748"/>
            <a:ext cx="4088219" cy="276999"/>
          </a:xfrm>
        </p:spPr>
        <p:txBody>
          <a:bodyPr/>
          <a:lstStyle/>
          <a:p>
            <a:r>
              <a:rPr lang="en-US" dirty="0"/>
              <a:t>Click to edit text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809538C-F943-3F6A-91E8-DA93D5A5F4F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812282" y="4571359"/>
            <a:ext cx="285335" cy="307777"/>
          </a:xfrm>
        </p:spPr>
        <p:txBody>
          <a:bodyPr/>
          <a:lstStyle/>
          <a:p>
            <a:r>
              <a:rPr lang="en-US" dirty="0"/>
              <a:t>09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2E7E464-35D0-EEBC-08B5-0CF0FBF4E02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549745" y="4586748"/>
            <a:ext cx="4088219" cy="276999"/>
          </a:xfrm>
        </p:spPr>
        <p:txBody>
          <a:bodyPr/>
          <a:lstStyle/>
          <a:p>
            <a:r>
              <a:rPr lang="en-US" dirty="0"/>
              <a:t>Click to edit tex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C08E844A-3AFF-F45E-8874-4A8A71247A5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54038" y="5508468"/>
            <a:ext cx="285335" cy="307777"/>
          </a:xfrm>
        </p:spPr>
        <p:txBody>
          <a:bodyPr/>
          <a:lstStyle/>
          <a:p>
            <a:r>
              <a:rPr lang="en-US" dirty="0"/>
              <a:t>05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567E5E2-79A5-C5A8-7F6B-0EBE03E1A43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291501" y="5523857"/>
            <a:ext cx="4088219" cy="276999"/>
          </a:xfrm>
        </p:spPr>
        <p:txBody>
          <a:bodyPr/>
          <a:lstStyle/>
          <a:p>
            <a:r>
              <a:rPr lang="en-US" dirty="0"/>
              <a:t>Click to edit text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9EC09F3-8C20-E442-68B7-EF4786B26CD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812282" y="5508468"/>
            <a:ext cx="285335" cy="307777"/>
          </a:xfrm>
        </p:spPr>
        <p:txBody>
          <a:bodyPr/>
          <a:lstStyle/>
          <a:p>
            <a:r>
              <a:rPr lang="en-US" dirty="0"/>
              <a:t>10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F3976B2-4C37-75E4-F162-97EF8A15690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549745" y="5523857"/>
            <a:ext cx="4088219" cy="276999"/>
          </a:xfrm>
        </p:spPr>
        <p:txBody>
          <a:bodyPr/>
          <a:lstStyle/>
          <a:p>
            <a:r>
              <a:rPr lang="en-US" dirty="0"/>
              <a:t>Click to edit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79FCF56-688A-B84D-FEFD-6423A692BAAA}"/>
              </a:ext>
            </a:extLst>
          </p:cNvPr>
          <p:cNvSpPr txBox="1"/>
          <p:nvPr/>
        </p:nvSpPr>
        <p:spPr>
          <a:xfrm>
            <a:off x="9282002" y="0"/>
            <a:ext cx="1752600" cy="658368"/>
          </a:xfrm>
          <a:prstGeom prst="rect">
            <a:avLst/>
          </a:prstGeom>
          <a:solidFill>
            <a:srgbClr val="FFFF00"/>
          </a:solidFill>
        </p:spPr>
        <p:txBody>
          <a:bodyPr vert="horz" lIns="0" tIns="0" rIns="0" bIns="0" rtlCol="0" anchor="ctr" anchorCtr="1">
            <a:no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  <a:latin typeface="arial" panose="020B0604020202020204" pitchFamily="34" charset="0"/>
              </a:rPr>
              <a:t>OPTIONAL SLIDE</a:t>
            </a:r>
          </a:p>
        </p:txBody>
      </p:sp>
    </p:spTree>
    <p:extLst>
      <p:ext uri="{BB962C8B-B14F-4D97-AF65-F5344CB8AC3E}">
        <p14:creationId xmlns:p14="http://schemas.microsoft.com/office/powerpoint/2010/main" val="2813694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64BAC4-1F4B-D6AB-EA22-E16616CACF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122228D-DD3B-AFC9-9030-E972FD7FB4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5414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59F914-E446-388E-B765-966F0ADC4D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6DD3F1C-CFC2-5FC8-71BA-2DF73C524E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EC2E709-F63C-BD31-62DB-30CCD56FBF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353A8F7-72F6-B2D4-039E-723C718A16C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460586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63A707-7E3D-E23C-B7FF-D65F3975F7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A349921-9486-3CDF-DC4E-A5BB6FAC54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297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22228D-DD3B-AFC9-9030-E972FD7FB4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8C00AE6-A467-B169-9771-AD7DD919DBB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50DF28E-D222-A88E-4F0B-53E3339506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213116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339B5E-BB9B-8421-165B-38259B326E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C77EBBD-700C-11D5-40B0-8D8ED90CFA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8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349921-9486-3CDF-DC4E-A5BB6FAC5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D445BE2F-64AE-4658-967B-60668B328EE2}"/>
              </a:ext>
            </a:extLst>
          </p:cNvPr>
          <p:cNvSpPr txBox="1"/>
          <p:nvPr/>
        </p:nvSpPr>
        <p:spPr>
          <a:xfrm>
            <a:off x="2156011" y="2967335"/>
            <a:ext cx="787997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b="1" dirty="0"/>
              <a:t>ADDITIONAL LAYOUTS</a:t>
            </a:r>
          </a:p>
        </p:txBody>
      </p:sp>
    </p:spTree>
    <p:extLst>
      <p:ext uri="{BB962C8B-B14F-4D97-AF65-F5344CB8AC3E}">
        <p14:creationId xmlns:p14="http://schemas.microsoft.com/office/powerpoint/2010/main" val="16327327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5</TotalTime>
  <Words>2389</Words>
  <Application>Microsoft Office PowerPoint</Application>
  <PresentationFormat>Widescreen</PresentationFormat>
  <Paragraphs>394</Paragraphs>
  <Slides>2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5" baseType="lpstr">
      <vt:lpstr>Arial</vt:lpstr>
      <vt:lpstr>Arial</vt:lpstr>
      <vt:lpstr>Calibri</vt:lpstr>
      <vt:lpstr>Georgia</vt:lpstr>
      <vt:lpstr>Office Theme</vt:lpstr>
      <vt:lpstr>think-cell Slide</vt:lpstr>
      <vt:lpstr>How to use this template</vt:lpstr>
      <vt:lpstr>Click to edit Master title style</vt:lpstr>
      <vt:lpstr>Click to edit Master title style</vt:lpstr>
      <vt:lpstr>Click to edit Slide title style</vt:lpstr>
      <vt:lpstr>Click to edit Slide title style</vt:lpstr>
      <vt:lpstr>Agenda </vt:lpstr>
      <vt:lpstr>xx</vt:lpstr>
      <vt:lpstr>PowerPoint Presentation</vt:lpstr>
      <vt:lpstr>PowerPoint Presentation</vt:lpstr>
      <vt:lpstr>Click to edit Slide title style</vt:lpstr>
      <vt:lpstr>Click to edit Slide title style</vt:lpstr>
      <vt:lpstr>Click to edit Slide title style</vt:lpstr>
      <vt:lpstr>Click to edit Slide title style</vt:lpstr>
      <vt:lpstr>Click to edit Slide title style</vt:lpstr>
      <vt:lpstr>Click to edit Slide title style</vt:lpstr>
      <vt:lpstr>Click to edit Slide title style</vt:lpstr>
      <vt:lpstr>Click to edit Slide title style</vt:lpstr>
      <vt:lpstr>Click to edit Slide title style</vt:lpstr>
      <vt:lpstr>Click to edit Slide title style</vt:lpstr>
      <vt:lpstr>Click to edit Slide title style</vt:lpstr>
      <vt:lpstr>Click to edit Slide title style</vt:lpstr>
      <vt:lpstr>Click to edit Slide title style</vt:lpstr>
      <vt:lpstr>Click to edit Slide title style</vt:lpstr>
      <vt:lpstr>Click to edit Slide title style</vt:lpstr>
      <vt:lpstr>Click to edit Slide title style</vt:lpstr>
      <vt:lpstr>Click to edit Slide title style</vt:lpstr>
      <vt:lpstr>Click to edit Slide title style</vt:lpstr>
      <vt:lpstr>Click to edit Slide title style</vt:lpstr>
      <vt:lpstr>Click to edit Slide title sty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ohanraj Ravi</dc:creator>
  <cp:lastModifiedBy>ungaskidot</cp:lastModifiedBy>
  <cp:revision>63</cp:revision>
  <dcterms:created xsi:type="dcterms:W3CDTF">2025-07-09T10:57:17Z</dcterms:created>
  <dcterms:modified xsi:type="dcterms:W3CDTF">2025-08-25T15:36:33Z</dcterms:modified>
</cp:coreProperties>
</file>